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8A0_EA1932F.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8" r:id="rId4"/>
    <p:sldMasterId id="2147484007" r:id="rId5"/>
    <p:sldMasterId id="2147483660" r:id="rId6"/>
    <p:sldMasterId id="2147483678" r:id="rId7"/>
  </p:sldMasterIdLst>
  <p:notesMasterIdLst>
    <p:notesMasterId r:id="rId56"/>
  </p:notesMasterIdLst>
  <p:sldIdLst>
    <p:sldId id="703" r:id="rId8"/>
    <p:sldId id="2218" r:id="rId9"/>
    <p:sldId id="2219" r:id="rId10"/>
    <p:sldId id="2220" r:id="rId11"/>
    <p:sldId id="2221" r:id="rId12"/>
    <p:sldId id="2222" r:id="rId13"/>
    <p:sldId id="2223" r:id="rId14"/>
    <p:sldId id="2224" r:id="rId15"/>
    <p:sldId id="2225" r:id="rId16"/>
    <p:sldId id="2226" r:id="rId17"/>
    <p:sldId id="2227" r:id="rId18"/>
    <p:sldId id="2215" r:id="rId19"/>
    <p:sldId id="2229" r:id="rId20"/>
    <p:sldId id="2230" r:id="rId21"/>
    <p:sldId id="2231" r:id="rId22"/>
    <p:sldId id="2232" r:id="rId23"/>
    <p:sldId id="2233" r:id="rId24"/>
    <p:sldId id="2234" r:id="rId25"/>
    <p:sldId id="2235" r:id="rId26"/>
    <p:sldId id="2236" r:id="rId27"/>
    <p:sldId id="2237" r:id="rId28"/>
    <p:sldId id="2238" r:id="rId29"/>
    <p:sldId id="2239" r:id="rId30"/>
    <p:sldId id="2213" r:id="rId31"/>
    <p:sldId id="261" r:id="rId32"/>
    <p:sldId id="2188" r:id="rId33"/>
    <p:sldId id="370" r:id="rId34"/>
    <p:sldId id="258" r:id="rId35"/>
    <p:sldId id="2196" r:id="rId36"/>
    <p:sldId id="2208" r:id="rId37"/>
    <p:sldId id="2212" r:id="rId38"/>
    <p:sldId id="498" r:id="rId39"/>
    <p:sldId id="2198" r:id="rId40"/>
    <p:sldId id="2211" r:id="rId41"/>
    <p:sldId id="2214" r:id="rId42"/>
    <p:sldId id="2240" r:id="rId43"/>
    <p:sldId id="2241" r:id="rId44"/>
    <p:sldId id="2242" r:id="rId45"/>
    <p:sldId id="2243" r:id="rId46"/>
    <p:sldId id="2245" r:id="rId47"/>
    <p:sldId id="2246" r:id="rId48"/>
    <p:sldId id="2247" r:id="rId49"/>
    <p:sldId id="2248" r:id="rId50"/>
    <p:sldId id="2249" r:id="rId51"/>
    <p:sldId id="2250" r:id="rId52"/>
    <p:sldId id="2251" r:id="rId53"/>
    <p:sldId id="2252" r:id="rId54"/>
    <p:sldId id="2228"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3EFC532-EB96-9382-EA56-7D6E42C37A9E}" name="Boranian, Emily" initials="EB" userId="S::emily.boranian@cuanschutz.edu::c54aeb6d-675b-4bbe-b224-7c478eb5e8ba"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B25847-3CE7-CBE8-C59B-EDC8094F808B}" v="1" dt="2025-11-11T03:56:25.720"/>
    <p1510:client id="{F61199D1-5FF3-2606-0CBE-80D7CF4FA6ED}" v="36" dt="2025-11-10T01:32:58.5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varScale="1">
        <p:scale>
          <a:sx n="86" d="100"/>
          <a:sy n="86" d="100"/>
        </p:scale>
        <p:origin x="96" y="8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6/11/relationships/changesInfo" Target="changesInfos/changesInfo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presProps" Target="pres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ire Rainey" userId="S::crainey@t1dexchange.org::c66522fd-7f79-4e4b-9477-0af3b7aa6656" providerId="AD" clId="Web-{C0B25847-3CE7-CBE8-C59B-EDC8094F808B}"/>
    <pc:docChg chg="delSld modSld">
      <pc:chgData name="Claire Rainey" userId="S::crainey@t1dexchange.org::c66522fd-7f79-4e4b-9477-0af3b7aa6656" providerId="AD" clId="Web-{C0B25847-3CE7-CBE8-C59B-EDC8094F808B}" dt="2025-11-11T04:00:46.131" v="7"/>
      <pc:docMkLst>
        <pc:docMk/>
      </pc:docMkLst>
      <pc:sldChg chg="del">
        <pc:chgData name="Claire Rainey" userId="S::crainey@t1dexchange.org::c66522fd-7f79-4e4b-9477-0af3b7aa6656" providerId="AD" clId="Web-{C0B25847-3CE7-CBE8-C59B-EDC8094F808B}" dt="2025-11-11T03:56:25.720" v="0"/>
        <pc:sldMkLst>
          <pc:docMk/>
          <pc:sldMk cId="2677798333" sldId="2244"/>
        </pc:sldMkLst>
      </pc:sldChg>
      <pc:sldChg chg="modNotes">
        <pc:chgData name="Claire Rainey" userId="S::crainey@t1dexchange.org::c66522fd-7f79-4e4b-9477-0af3b7aa6656" providerId="AD" clId="Web-{C0B25847-3CE7-CBE8-C59B-EDC8094F808B}" dt="2025-11-11T03:56:44.393" v="3"/>
        <pc:sldMkLst>
          <pc:docMk/>
          <pc:sldMk cId="81143659" sldId="2245"/>
        </pc:sldMkLst>
      </pc:sldChg>
      <pc:sldChg chg="modNotes">
        <pc:chgData name="Claire Rainey" userId="S::crainey@t1dexchange.org::c66522fd-7f79-4e4b-9477-0af3b7aa6656" providerId="AD" clId="Web-{C0B25847-3CE7-CBE8-C59B-EDC8094F808B}" dt="2025-11-11T04:00:46.131" v="7"/>
        <pc:sldMkLst>
          <pc:docMk/>
          <pc:sldMk cId="3881416332" sldId="2251"/>
        </pc:sldMkLst>
      </pc:sldChg>
    </pc:docChg>
  </pc:docChgLst>
  <pc:docChgLst>
    <pc:chgData name="Claire Rainey" userId="S::crainey@t1dexchange.org::c66522fd-7f79-4e4b-9477-0af3b7aa6656" providerId="AD" clId="Web-{D49C8E19-911D-FD27-ED7E-A6F7BAB5214B}"/>
    <pc:docChg chg="addSld delSld modSld addMainMaster modMainMaster">
      <pc:chgData name="Claire Rainey" userId="S::crainey@t1dexchange.org::c66522fd-7f79-4e4b-9477-0af3b7aa6656" providerId="AD" clId="Web-{D49C8E19-911D-FD27-ED7E-A6F7BAB5214B}" dt="2025-10-31T14:55:00.514" v="62" actId="20577"/>
      <pc:docMkLst>
        <pc:docMk/>
      </pc:docMkLst>
      <pc:sldChg chg="add">
        <pc:chgData name="Claire Rainey" userId="S::crainey@t1dexchange.org::c66522fd-7f79-4e4b-9477-0af3b7aa6656" providerId="AD" clId="Web-{D49C8E19-911D-FD27-ED7E-A6F7BAB5214B}" dt="2025-10-31T14:51:41.263" v="14"/>
        <pc:sldMkLst>
          <pc:docMk/>
          <pc:sldMk cId="0" sldId="258"/>
        </pc:sldMkLst>
      </pc:sldChg>
      <pc:sldChg chg="add">
        <pc:chgData name="Claire Rainey" userId="S::crainey@t1dexchange.org::c66522fd-7f79-4e4b-9477-0af3b7aa6656" providerId="AD" clId="Web-{D49C8E19-911D-FD27-ED7E-A6F7BAB5214B}" dt="2025-10-31T14:51:40.998" v="11"/>
        <pc:sldMkLst>
          <pc:docMk/>
          <pc:sldMk cId="3002508430" sldId="261"/>
        </pc:sldMkLst>
      </pc:sldChg>
      <pc:sldChg chg="add">
        <pc:chgData name="Claire Rainey" userId="S::crainey@t1dexchange.org::c66522fd-7f79-4e4b-9477-0af3b7aa6656" providerId="AD" clId="Web-{D49C8E19-911D-FD27-ED7E-A6F7BAB5214B}" dt="2025-10-31T14:51:41.185" v="13"/>
        <pc:sldMkLst>
          <pc:docMk/>
          <pc:sldMk cId="0" sldId="370"/>
        </pc:sldMkLst>
      </pc:sldChg>
      <pc:sldChg chg="add">
        <pc:chgData name="Claire Rainey" userId="S::crainey@t1dexchange.org::c66522fd-7f79-4e4b-9477-0af3b7aa6656" providerId="AD" clId="Web-{D49C8E19-911D-FD27-ED7E-A6F7BAB5214B}" dt="2025-10-31T14:51:41.998" v="18"/>
        <pc:sldMkLst>
          <pc:docMk/>
          <pc:sldMk cId="567126601" sldId="498"/>
        </pc:sldMkLst>
      </pc:sldChg>
      <pc:sldChg chg="modSp">
        <pc:chgData name="Claire Rainey" userId="S::crainey@t1dexchange.org::c66522fd-7f79-4e4b-9477-0af3b7aa6656" providerId="AD" clId="Web-{D49C8E19-911D-FD27-ED7E-A6F7BAB5214B}" dt="2025-10-31T14:55:00.514" v="62" actId="20577"/>
        <pc:sldMkLst>
          <pc:docMk/>
          <pc:sldMk cId="3329208454" sldId="703"/>
        </pc:sldMkLst>
        <pc:spChg chg="mod">
          <ac:chgData name="Claire Rainey" userId="S::crainey@t1dexchange.org::c66522fd-7f79-4e4b-9477-0af3b7aa6656" providerId="AD" clId="Web-{D49C8E19-911D-FD27-ED7E-A6F7BAB5214B}" dt="2025-10-31T14:55:00.514" v="62" actId="20577"/>
          <ac:spMkLst>
            <pc:docMk/>
            <pc:sldMk cId="3329208454" sldId="703"/>
            <ac:spMk id="8" creationId="{6061F7A1-CFF8-D342-A9AF-5CB080C98BD0}"/>
          </ac:spMkLst>
        </pc:spChg>
      </pc:sldChg>
      <pc:sldChg chg="add">
        <pc:chgData name="Claire Rainey" userId="S::crainey@t1dexchange.org::c66522fd-7f79-4e4b-9477-0af3b7aa6656" providerId="AD" clId="Web-{D49C8E19-911D-FD27-ED7E-A6F7BAB5214B}" dt="2025-10-31T14:51:41.107" v="12"/>
        <pc:sldMkLst>
          <pc:docMk/>
          <pc:sldMk cId="308343447" sldId="2188"/>
        </pc:sldMkLst>
      </pc:sldChg>
      <pc:sldChg chg="add">
        <pc:chgData name="Claire Rainey" userId="S::crainey@t1dexchange.org::c66522fd-7f79-4e4b-9477-0af3b7aa6656" providerId="AD" clId="Web-{D49C8E19-911D-FD27-ED7E-A6F7BAB5214B}" dt="2025-10-31T14:51:41.451" v="15"/>
        <pc:sldMkLst>
          <pc:docMk/>
          <pc:sldMk cId="0" sldId="2196"/>
        </pc:sldMkLst>
      </pc:sldChg>
      <pc:sldChg chg="add">
        <pc:chgData name="Claire Rainey" userId="S::crainey@t1dexchange.org::c66522fd-7f79-4e4b-9477-0af3b7aa6656" providerId="AD" clId="Web-{D49C8E19-911D-FD27-ED7E-A6F7BAB5214B}" dt="2025-10-31T14:51:42.060" v="19"/>
        <pc:sldMkLst>
          <pc:docMk/>
          <pc:sldMk cId="870660755" sldId="2198"/>
        </pc:sldMkLst>
      </pc:sldChg>
      <pc:sldChg chg="add">
        <pc:chgData name="Claire Rainey" userId="S::crainey@t1dexchange.org::c66522fd-7f79-4e4b-9477-0af3b7aa6656" providerId="AD" clId="Web-{D49C8E19-911D-FD27-ED7E-A6F7BAB5214B}" dt="2025-10-31T14:51:41.638" v="16"/>
        <pc:sldMkLst>
          <pc:docMk/>
          <pc:sldMk cId="245469999" sldId="2208"/>
        </pc:sldMkLst>
      </pc:sldChg>
      <pc:sldChg chg="add">
        <pc:chgData name="Claire Rainey" userId="S::crainey@t1dexchange.org::c66522fd-7f79-4e4b-9477-0af3b7aa6656" providerId="AD" clId="Web-{D49C8E19-911D-FD27-ED7E-A6F7BAB5214B}" dt="2025-10-31T14:51:42.232" v="20"/>
        <pc:sldMkLst>
          <pc:docMk/>
          <pc:sldMk cId="3454548403" sldId="2211"/>
        </pc:sldMkLst>
      </pc:sldChg>
      <pc:sldChg chg="add">
        <pc:chgData name="Claire Rainey" userId="S::crainey@t1dexchange.org::c66522fd-7f79-4e4b-9477-0af3b7aa6656" providerId="AD" clId="Web-{D49C8E19-911D-FD27-ED7E-A6F7BAB5214B}" dt="2025-10-31T14:51:41.779" v="17"/>
        <pc:sldMkLst>
          <pc:docMk/>
          <pc:sldMk cId="3973953340" sldId="2212"/>
        </pc:sldMkLst>
      </pc:sldChg>
      <pc:sldChg chg="add">
        <pc:chgData name="Claire Rainey" userId="S::crainey@t1dexchange.org::c66522fd-7f79-4e4b-9477-0af3b7aa6656" providerId="AD" clId="Web-{D49C8E19-911D-FD27-ED7E-A6F7BAB5214B}" dt="2025-10-31T14:52:45.076" v="21"/>
        <pc:sldMkLst>
          <pc:docMk/>
          <pc:sldMk cId="1202352802" sldId="2213"/>
        </pc:sldMkLst>
      </pc:sldChg>
      <pc:sldChg chg="add">
        <pc:chgData name="Claire Rainey" userId="S::crainey@t1dexchange.org::c66522fd-7f79-4e4b-9477-0af3b7aa6656" providerId="AD" clId="Web-{D49C8E19-911D-FD27-ED7E-A6F7BAB5214B}" dt="2025-10-31T14:52:50.654" v="22"/>
        <pc:sldMkLst>
          <pc:docMk/>
          <pc:sldMk cId="3110410305" sldId="2214"/>
        </pc:sldMkLst>
      </pc:sldChg>
      <pc:sldChg chg="add">
        <pc:chgData name="Claire Rainey" userId="S::crainey@t1dexchange.org::c66522fd-7f79-4e4b-9477-0af3b7aa6656" providerId="AD" clId="Web-{D49C8E19-911D-FD27-ED7E-A6F7BAB5214B}" dt="2025-10-31T14:52:57.623" v="23"/>
        <pc:sldMkLst>
          <pc:docMk/>
          <pc:sldMk cId="1796652194" sldId="2215"/>
        </pc:sldMkLst>
      </pc:sldChg>
      <pc:sldMasterChg chg="add addSldLayout">
        <pc:chgData name="Claire Rainey" userId="S::crainey@t1dexchange.org::c66522fd-7f79-4e4b-9477-0af3b7aa6656" providerId="AD" clId="Web-{D49C8E19-911D-FD27-ED7E-A6F7BAB5214B}" dt="2025-10-31T14:51:40.998" v="11"/>
        <pc:sldMasterMkLst>
          <pc:docMk/>
          <pc:sldMasterMk cId="3282687194" sldId="2147483660"/>
        </pc:sldMasterMkLst>
        <pc:sldLayoutChg chg="add">
          <pc:chgData name="Claire Rainey" userId="S::crainey@t1dexchange.org::c66522fd-7f79-4e4b-9477-0af3b7aa6656" providerId="AD" clId="Web-{D49C8E19-911D-FD27-ED7E-A6F7BAB5214B}" dt="2025-10-31T14:51:40.998" v="11"/>
          <pc:sldLayoutMkLst>
            <pc:docMk/>
            <pc:sldMasterMk cId="3282687194" sldId="2147483660"/>
            <pc:sldLayoutMk cId="361215359" sldId="2147483661"/>
          </pc:sldLayoutMkLst>
        </pc:sldLayoutChg>
        <pc:sldLayoutChg chg="add">
          <pc:chgData name="Claire Rainey" userId="S::crainey@t1dexchange.org::c66522fd-7f79-4e4b-9477-0af3b7aa6656" providerId="AD" clId="Web-{D49C8E19-911D-FD27-ED7E-A6F7BAB5214B}" dt="2025-10-31T14:51:40.998" v="11"/>
          <pc:sldLayoutMkLst>
            <pc:docMk/>
            <pc:sldMasterMk cId="3282687194" sldId="2147483660"/>
            <pc:sldLayoutMk cId="3490054948" sldId="2147483662"/>
          </pc:sldLayoutMkLst>
        </pc:sldLayoutChg>
        <pc:sldLayoutChg chg="add">
          <pc:chgData name="Claire Rainey" userId="S::crainey@t1dexchange.org::c66522fd-7f79-4e4b-9477-0af3b7aa6656" providerId="AD" clId="Web-{D49C8E19-911D-FD27-ED7E-A6F7BAB5214B}" dt="2025-10-31T14:51:40.998" v="11"/>
          <pc:sldLayoutMkLst>
            <pc:docMk/>
            <pc:sldMasterMk cId="3282687194" sldId="2147483660"/>
            <pc:sldLayoutMk cId="3575465876" sldId="2147483664"/>
          </pc:sldLayoutMkLst>
        </pc:sldLayoutChg>
        <pc:sldLayoutChg chg="add">
          <pc:chgData name="Claire Rainey" userId="S::crainey@t1dexchange.org::c66522fd-7f79-4e4b-9477-0af3b7aa6656" providerId="AD" clId="Web-{D49C8E19-911D-FD27-ED7E-A6F7BAB5214B}" dt="2025-10-31T14:51:40.998" v="11"/>
          <pc:sldLayoutMkLst>
            <pc:docMk/>
            <pc:sldMasterMk cId="3282687194" sldId="2147483660"/>
            <pc:sldLayoutMk cId="3074477280" sldId="2147483668"/>
          </pc:sldLayoutMkLst>
        </pc:sldLayoutChg>
        <pc:sldLayoutChg chg="add">
          <pc:chgData name="Claire Rainey" userId="S::crainey@t1dexchange.org::c66522fd-7f79-4e4b-9477-0af3b7aa6656" providerId="AD" clId="Web-{D49C8E19-911D-FD27-ED7E-A6F7BAB5214B}" dt="2025-10-31T14:51:40.998" v="11"/>
          <pc:sldLayoutMkLst>
            <pc:docMk/>
            <pc:sldMasterMk cId="3282687194" sldId="2147483660"/>
            <pc:sldLayoutMk cId="82298240" sldId="2147483915"/>
          </pc:sldLayoutMkLst>
        </pc:sldLayoutChg>
        <pc:sldLayoutChg chg="add">
          <pc:chgData name="Claire Rainey" userId="S::crainey@t1dexchange.org::c66522fd-7f79-4e4b-9477-0af3b7aa6656" providerId="AD" clId="Web-{D49C8E19-911D-FD27-ED7E-A6F7BAB5214B}" dt="2025-10-31T14:51:40.998" v="11"/>
          <pc:sldLayoutMkLst>
            <pc:docMk/>
            <pc:sldMasterMk cId="3282687194" sldId="2147483660"/>
            <pc:sldLayoutMk cId="858460084" sldId="2147484006"/>
          </pc:sldLayoutMkLst>
        </pc:sldLayoutChg>
      </pc:sldMasterChg>
      <pc:sldMasterChg chg="add replId addSldLayout modSldLayout">
        <pc:chgData name="Claire Rainey" userId="S::crainey@t1dexchange.org::c66522fd-7f79-4e4b-9477-0af3b7aa6656" providerId="AD" clId="Web-{D49C8E19-911D-FD27-ED7E-A6F7BAB5214B}" dt="2025-10-31T14:52:45.076" v="21"/>
        <pc:sldMasterMkLst>
          <pc:docMk/>
          <pc:sldMasterMk cId="2460954070" sldId="2147484007"/>
        </pc:sldMasterMkLst>
        <pc:sldLayoutChg chg="add">
          <pc:chgData name="Claire Rainey" userId="S::crainey@t1dexchange.org::c66522fd-7f79-4e4b-9477-0af3b7aa6656" providerId="AD" clId="Web-{D49C8E19-911D-FD27-ED7E-A6F7BAB5214B}" dt="2025-10-31T14:50:58.716" v="0"/>
          <pc:sldLayoutMkLst>
            <pc:docMk/>
            <pc:sldMasterMk cId="2460954070" sldId="2147484007"/>
            <pc:sldLayoutMk cId="2591524520" sldId="2147483663"/>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3733172339" sldId="2147483665"/>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3210312558" sldId="2147483666"/>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3146388984" sldId="2147483667"/>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1718958274" sldId="2147483669"/>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2202905451" sldId="2147483670"/>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3479445657" sldId="2147483671"/>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701022315" sldId="2147483673"/>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2529478204" sldId="2147483674"/>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3491762754" sldId="2147483675"/>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1863262711" sldId="2147483676"/>
          </pc:sldLayoutMkLst>
        </pc:sldLayoutChg>
        <pc:sldLayoutChg chg="add">
          <pc:chgData name="Claire Rainey" userId="S::crainey@t1dexchange.org::c66522fd-7f79-4e4b-9477-0af3b7aa6656" providerId="AD" clId="Web-{D49C8E19-911D-FD27-ED7E-A6F7BAB5214B}" dt="2025-10-31T14:50:58.716" v="0"/>
          <pc:sldLayoutMkLst>
            <pc:docMk/>
            <pc:sldMasterMk cId="2460954070" sldId="2147484007"/>
            <pc:sldLayoutMk cId="1093088347" sldId="2147483677"/>
          </pc:sldLayoutMkLst>
        </pc:sldLayoutChg>
        <pc:sldLayoutChg chg="add">
          <pc:chgData name="Claire Rainey" userId="S::crainey@t1dexchange.org::c66522fd-7f79-4e4b-9477-0af3b7aa6656" providerId="AD" clId="Web-{D49C8E19-911D-FD27-ED7E-A6F7BAB5214B}" dt="2025-10-31T14:52:45.076" v="21"/>
          <pc:sldLayoutMkLst>
            <pc:docMk/>
            <pc:sldMasterMk cId="2460954070" sldId="2147484007"/>
            <pc:sldLayoutMk cId="3053914633" sldId="2147483854"/>
          </pc:sldLayoutMkLst>
        </pc:sldLayoutChg>
        <pc:sldLayoutChg chg="add">
          <pc:chgData name="Claire Rainey" userId="S::crainey@t1dexchange.org::c66522fd-7f79-4e4b-9477-0af3b7aa6656" providerId="AD" clId="Web-{D49C8E19-911D-FD27-ED7E-A6F7BAB5214B}" dt="2025-10-31T14:52:45.076" v="21"/>
          <pc:sldLayoutMkLst>
            <pc:docMk/>
            <pc:sldMasterMk cId="2460954070" sldId="2147484007"/>
            <pc:sldLayoutMk cId="3824787753" sldId="2147483856"/>
          </pc:sldLayoutMkLst>
        </pc:sldLayoutChg>
        <pc:sldLayoutChg chg="add">
          <pc:chgData name="Claire Rainey" userId="S::crainey@t1dexchange.org::c66522fd-7f79-4e4b-9477-0af3b7aa6656" providerId="AD" clId="Web-{D49C8E19-911D-FD27-ED7E-A6F7BAB5214B}" dt="2025-10-31T14:52:45.076" v="21"/>
          <pc:sldLayoutMkLst>
            <pc:docMk/>
            <pc:sldMasterMk cId="2460954070" sldId="2147484007"/>
            <pc:sldLayoutMk cId="3287971088" sldId="2147483860"/>
          </pc:sldLayoutMkLst>
        </pc:sldLayoutChg>
        <pc:sldLayoutChg chg="add replId">
          <pc:chgData name="Claire Rainey" userId="S::crainey@t1dexchange.org::c66522fd-7f79-4e4b-9477-0af3b7aa6656" providerId="AD" clId="Web-{D49C8E19-911D-FD27-ED7E-A6F7BAB5214B}" dt="2025-10-31T14:51:40.998" v="11"/>
          <pc:sldLayoutMkLst>
            <pc:docMk/>
            <pc:sldMasterMk cId="2460954070" sldId="2147484007"/>
            <pc:sldLayoutMk cId="2385387890" sldId="2147484008"/>
          </pc:sldLayoutMkLst>
        </pc:sldLayoutChg>
        <pc:sldLayoutChg chg="add replId">
          <pc:chgData name="Claire Rainey" userId="S::crainey@t1dexchange.org::c66522fd-7f79-4e4b-9477-0af3b7aa6656" providerId="AD" clId="Web-{D49C8E19-911D-FD27-ED7E-A6F7BAB5214B}" dt="2025-10-31T14:51:40.998" v="11"/>
          <pc:sldLayoutMkLst>
            <pc:docMk/>
            <pc:sldMasterMk cId="2460954070" sldId="2147484007"/>
            <pc:sldLayoutMk cId="949138452" sldId="2147484009"/>
          </pc:sldLayoutMkLst>
        </pc:sldLayoutChg>
        <pc:sldLayoutChg chg="add replId">
          <pc:chgData name="Claire Rainey" userId="S::crainey@t1dexchange.org::c66522fd-7f79-4e4b-9477-0af3b7aa6656" providerId="AD" clId="Web-{D49C8E19-911D-FD27-ED7E-A6F7BAB5214B}" dt="2025-10-31T14:51:40.998" v="11"/>
          <pc:sldLayoutMkLst>
            <pc:docMk/>
            <pc:sldMasterMk cId="2460954070" sldId="2147484007"/>
            <pc:sldLayoutMk cId="1203092039" sldId="2147484010"/>
          </pc:sldLayoutMkLst>
        </pc:sldLayoutChg>
        <pc:sldLayoutChg chg="add replId">
          <pc:chgData name="Claire Rainey" userId="S::crainey@t1dexchange.org::c66522fd-7f79-4e4b-9477-0af3b7aa6656" providerId="AD" clId="Web-{D49C8E19-911D-FD27-ED7E-A6F7BAB5214B}" dt="2025-10-31T14:51:40.998" v="11"/>
          <pc:sldLayoutMkLst>
            <pc:docMk/>
            <pc:sldMasterMk cId="2460954070" sldId="2147484007"/>
            <pc:sldLayoutMk cId="3171841454" sldId="2147484011"/>
          </pc:sldLayoutMkLst>
        </pc:sldLayoutChg>
        <pc:sldLayoutChg chg="add replId">
          <pc:chgData name="Claire Rainey" userId="S::crainey@t1dexchange.org::c66522fd-7f79-4e4b-9477-0af3b7aa6656" providerId="AD" clId="Web-{D49C8E19-911D-FD27-ED7E-A6F7BAB5214B}" dt="2025-10-31T14:52:45.076" v="21"/>
          <pc:sldLayoutMkLst>
            <pc:docMk/>
            <pc:sldMasterMk cId="2460954070" sldId="2147484007"/>
            <pc:sldLayoutMk cId="2444888385" sldId="2147484012"/>
          </pc:sldLayoutMkLst>
        </pc:sldLayoutChg>
        <pc:sldLayoutChg chg="add">
          <pc:chgData name="Claire Rainey" userId="S::crainey@t1dexchange.org::c66522fd-7f79-4e4b-9477-0af3b7aa6656" providerId="AD" clId="Web-{D49C8E19-911D-FD27-ED7E-A6F7BAB5214B}" dt="2025-10-31T14:52:45.076" v="21"/>
          <pc:sldLayoutMkLst>
            <pc:docMk/>
            <pc:sldMasterMk cId="2460954070" sldId="2147484007"/>
            <pc:sldLayoutMk cId="1224580592" sldId="2147484014"/>
          </pc:sldLayoutMkLst>
        </pc:sldLayoutChg>
      </pc:sldMasterChg>
    </pc:docChg>
  </pc:docChgLst>
  <pc:docChgLst>
    <pc:chgData name="Claire Rainey" userId="S::crainey@t1dexchange.org::c66522fd-7f79-4e4b-9477-0af3b7aa6656" providerId="AD" clId="Web-{F61199D1-5FF3-2606-0CBE-80D7CF4FA6ED}"/>
    <pc:docChg chg="addSld delSld modMainMaster">
      <pc:chgData name="Claire Rainey" userId="S::crainey@t1dexchange.org::c66522fd-7f79-4e4b-9477-0af3b7aa6656" providerId="AD" clId="Web-{F61199D1-5FF3-2606-0CBE-80D7CF4FA6ED}" dt="2025-11-10T01:32:58.514" v="35"/>
      <pc:docMkLst>
        <pc:docMk/>
      </pc:docMkLst>
      <pc:sldChg chg="del">
        <pc:chgData name="Claire Rainey" userId="S::crainey@t1dexchange.org::c66522fd-7f79-4e4b-9477-0af3b7aa6656" providerId="AD" clId="Web-{F61199D1-5FF3-2606-0CBE-80D7CF4FA6ED}" dt="2025-11-10T01:29:48.668" v="10"/>
        <pc:sldMkLst>
          <pc:docMk/>
          <pc:sldMk cId="1604961564" sldId="257"/>
        </pc:sldMkLst>
      </pc:sldChg>
      <pc:sldChg chg="del">
        <pc:chgData name="Claire Rainey" userId="S::crainey@t1dexchange.org::c66522fd-7f79-4e4b-9477-0af3b7aa6656" providerId="AD" clId="Web-{F61199D1-5FF3-2606-0CBE-80D7CF4FA6ED}" dt="2025-11-10T01:29:48.637" v="6"/>
        <pc:sldMkLst>
          <pc:docMk/>
          <pc:sldMk cId="3552659098" sldId="270"/>
        </pc:sldMkLst>
      </pc:sldChg>
      <pc:sldChg chg="del">
        <pc:chgData name="Claire Rainey" userId="S::crainey@t1dexchange.org::c66522fd-7f79-4e4b-9477-0af3b7aa6656" providerId="AD" clId="Web-{F61199D1-5FF3-2606-0CBE-80D7CF4FA6ED}" dt="2025-11-10T01:29:48.668" v="9"/>
        <pc:sldMkLst>
          <pc:docMk/>
          <pc:sldMk cId="863401243" sldId="489"/>
        </pc:sldMkLst>
      </pc:sldChg>
      <pc:sldChg chg="del">
        <pc:chgData name="Claire Rainey" userId="S::crainey@t1dexchange.org::c66522fd-7f79-4e4b-9477-0af3b7aa6656" providerId="AD" clId="Web-{F61199D1-5FF3-2606-0CBE-80D7CF4FA6ED}" dt="2025-11-10T01:29:48.621" v="2"/>
        <pc:sldMkLst>
          <pc:docMk/>
          <pc:sldMk cId="311014469" sldId="490"/>
        </pc:sldMkLst>
      </pc:sldChg>
      <pc:sldChg chg="del">
        <pc:chgData name="Claire Rainey" userId="S::crainey@t1dexchange.org::c66522fd-7f79-4e4b-9477-0af3b7aa6656" providerId="AD" clId="Web-{F61199D1-5FF3-2606-0CBE-80D7CF4FA6ED}" dt="2025-11-10T01:29:48.652" v="8"/>
        <pc:sldMkLst>
          <pc:docMk/>
          <pc:sldMk cId="1334794784" sldId="491"/>
        </pc:sldMkLst>
      </pc:sldChg>
      <pc:sldChg chg="del">
        <pc:chgData name="Claire Rainey" userId="S::crainey@t1dexchange.org::c66522fd-7f79-4e4b-9477-0af3b7aa6656" providerId="AD" clId="Web-{F61199D1-5FF3-2606-0CBE-80D7CF4FA6ED}" dt="2025-11-10T01:29:48.637" v="5"/>
        <pc:sldMkLst>
          <pc:docMk/>
          <pc:sldMk cId="2931071920" sldId="2072"/>
        </pc:sldMkLst>
      </pc:sldChg>
      <pc:sldChg chg="del">
        <pc:chgData name="Claire Rainey" userId="S::crainey@t1dexchange.org::c66522fd-7f79-4e4b-9477-0af3b7aa6656" providerId="AD" clId="Web-{F61199D1-5FF3-2606-0CBE-80D7CF4FA6ED}" dt="2025-11-10T01:29:48.621" v="1"/>
        <pc:sldMkLst>
          <pc:docMk/>
          <pc:sldMk cId="800700434" sldId="2080"/>
        </pc:sldMkLst>
      </pc:sldChg>
      <pc:sldChg chg="del">
        <pc:chgData name="Claire Rainey" userId="S::crainey@t1dexchange.org::c66522fd-7f79-4e4b-9477-0af3b7aa6656" providerId="AD" clId="Web-{F61199D1-5FF3-2606-0CBE-80D7CF4FA6ED}" dt="2025-11-10T01:29:48.605" v="0"/>
        <pc:sldMkLst>
          <pc:docMk/>
          <pc:sldMk cId="1352817335" sldId="2085"/>
        </pc:sldMkLst>
      </pc:sldChg>
      <pc:sldChg chg="del">
        <pc:chgData name="Claire Rainey" userId="S::crainey@t1dexchange.org::c66522fd-7f79-4e4b-9477-0af3b7aa6656" providerId="AD" clId="Web-{F61199D1-5FF3-2606-0CBE-80D7CF4FA6ED}" dt="2025-11-10T01:29:48.652" v="7"/>
        <pc:sldMkLst>
          <pc:docMk/>
          <pc:sldMk cId="3711261556" sldId="2086"/>
        </pc:sldMkLst>
      </pc:sldChg>
      <pc:sldChg chg="del">
        <pc:chgData name="Claire Rainey" userId="S::crainey@t1dexchange.org::c66522fd-7f79-4e4b-9477-0af3b7aa6656" providerId="AD" clId="Web-{F61199D1-5FF3-2606-0CBE-80D7CF4FA6ED}" dt="2025-11-10T01:29:48.621" v="3"/>
        <pc:sldMkLst>
          <pc:docMk/>
          <pc:sldMk cId="4163338442" sldId="2091"/>
        </pc:sldMkLst>
      </pc:sldChg>
      <pc:sldChg chg="del">
        <pc:chgData name="Claire Rainey" userId="S::crainey@t1dexchange.org::c66522fd-7f79-4e4b-9477-0af3b7aa6656" providerId="AD" clId="Web-{F61199D1-5FF3-2606-0CBE-80D7CF4FA6ED}" dt="2025-11-10T01:29:48.637" v="4"/>
        <pc:sldMkLst>
          <pc:docMk/>
          <pc:sldMk cId="4126724373" sldId="2092"/>
        </pc:sldMkLst>
      </pc:sldChg>
      <pc:sldChg chg="del">
        <pc:chgData name="Claire Rainey" userId="S::crainey@t1dexchange.org::c66522fd-7f79-4e4b-9477-0af3b7aa6656" providerId="AD" clId="Web-{F61199D1-5FF3-2606-0CBE-80D7CF4FA6ED}" dt="2025-11-10T01:32:52.702" v="22"/>
        <pc:sldMkLst>
          <pc:docMk/>
          <pc:sldMk cId="3359733182" sldId="2217"/>
        </pc:sldMkLst>
      </pc:sldChg>
      <pc:sldChg chg="add">
        <pc:chgData name="Claire Rainey" userId="S::crainey@t1dexchange.org::c66522fd-7f79-4e4b-9477-0af3b7aa6656" providerId="AD" clId="Web-{F61199D1-5FF3-2606-0CBE-80D7CF4FA6ED}" dt="2025-11-10T01:30:47.372" v="11"/>
        <pc:sldMkLst>
          <pc:docMk/>
          <pc:sldMk cId="1604961564" sldId="2229"/>
        </pc:sldMkLst>
      </pc:sldChg>
      <pc:sldChg chg="add">
        <pc:chgData name="Claire Rainey" userId="S::crainey@t1dexchange.org::c66522fd-7f79-4e4b-9477-0af3b7aa6656" providerId="AD" clId="Web-{F61199D1-5FF3-2606-0CBE-80D7CF4FA6ED}" dt="2025-11-10T01:30:47.778" v="12"/>
        <pc:sldMkLst>
          <pc:docMk/>
          <pc:sldMk cId="863401243" sldId="2230"/>
        </pc:sldMkLst>
      </pc:sldChg>
      <pc:sldChg chg="add">
        <pc:chgData name="Claire Rainey" userId="S::crainey@t1dexchange.org::c66522fd-7f79-4e4b-9477-0af3b7aa6656" providerId="AD" clId="Web-{F61199D1-5FF3-2606-0CBE-80D7CF4FA6ED}" dt="2025-11-10T01:30:48.153" v="13"/>
        <pc:sldMkLst>
          <pc:docMk/>
          <pc:sldMk cId="1334794784" sldId="2231"/>
        </pc:sldMkLst>
      </pc:sldChg>
      <pc:sldChg chg="add">
        <pc:chgData name="Claire Rainey" userId="S::crainey@t1dexchange.org::c66522fd-7f79-4e4b-9477-0af3b7aa6656" providerId="AD" clId="Web-{F61199D1-5FF3-2606-0CBE-80D7CF4FA6ED}" dt="2025-11-10T01:30:48.262" v="14"/>
        <pc:sldMkLst>
          <pc:docMk/>
          <pc:sldMk cId="3711261556" sldId="2232"/>
        </pc:sldMkLst>
      </pc:sldChg>
      <pc:sldChg chg="add">
        <pc:chgData name="Claire Rainey" userId="S::crainey@t1dexchange.org::c66522fd-7f79-4e4b-9477-0af3b7aa6656" providerId="AD" clId="Web-{F61199D1-5FF3-2606-0CBE-80D7CF4FA6ED}" dt="2025-11-10T01:30:48.450" v="15"/>
        <pc:sldMkLst>
          <pc:docMk/>
          <pc:sldMk cId="3552659098" sldId="2233"/>
        </pc:sldMkLst>
      </pc:sldChg>
      <pc:sldChg chg="add">
        <pc:chgData name="Claire Rainey" userId="S::crainey@t1dexchange.org::c66522fd-7f79-4e4b-9477-0af3b7aa6656" providerId="AD" clId="Web-{F61199D1-5FF3-2606-0CBE-80D7CF4FA6ED}" dt="2025-11-10T01:30:48.513" v="16"/>
        <pc:sldMkLst>
          <pc:docMk/>
          <pc:sldMk cId="2931071920" sldId="2234"/>
        </pc:sldMkLst>
      </pc:sldChg>
      <pc:sldChg chg="add">
        <pc:chgData name="Claire Rainey" userId="S::crainey@t1dexchange.org::c66522fd-7f79-4e4b-9477-0af3b7aa6656" providerId="AD" clId="Web-{F61199D1-5FF3-2606-0CBE-80D7CF4FA6ED}" dt="2025-11-10T01:30:48.825" v="17"/>
        <pc:sldMkLst>
          <pc:docMk/>
          <pc:sldMk cId="4126724373" sldId="2235"/>
        </pc:sldMkLst>
      </pc:sldChg>
      <pc:sldChg chg="add">
        <pc:chgData name="Claire Rainey" userId="S::crainey@t1dexchange.org::c66522fd-7f79-4e4b-9477-0af3b7aa6656" providerId="AD" clId="Web-{F61199D1-5FF3-2606-0CBE-80D7CF4FA6ED}" dt="2025-11-10T01:30:49.200" v="18"/>
        <pc:sldMkLst>
          <pc:docMk/>
          <pc:sldMk cId="4163338442" sldId="2236"/>
        </pc:sldMkLst>
      </pc:sldChg>
      <pc:sldChg chg="add">
        <pc:chgData name="Claire Rainey" userId="S::crainey@t1dexchange.org::c66522fd-7f79-4e4b-9477-0af3b7aa6656" providerId="AD" clId="Web-{F61199D1-5FF3-2606-0CBE-80D7CF4FA6ED}" dt="2025-11-10T01:30:49.356" v="19"/>
        <pc:sldMkLst>
          <pc:docMk/>
          <pc:sldMk cId="311014469" sldId="2237"/>
        </pc:sldMkLst>
      </pc:sldChg>
      <pc:sldChg chg="add">
        <pc:chgData name="Claire Rainey" userId="S::crainey@t1dexchange.org::c66522fd-7f79-4e4b-9477-0af3b7aa6656" providerId="AD" clId="Web-{F61199D1-5FF3-2606-0CBE-80D7CF4FA6ED}" dt="2025-11-10T01:30:49.684" v="20"/>
        <pc:sldMkLst>
          <pc:docMk/>
          <pc:sldMk cId="800700434" sldId="2238"/>
        </pc:sldMkLst>
      </pc:sldChg>
      <pc:sldChg chg="add">
        <pc:chgData name="Claire Rainey" userId="S::crainey@t1dexchange.org::c66522fd-7f79-4e4b-9477-0af3b7aa6656" providerId="AD" clId="Web-{F61199D1-5FF3-2606-0CBE-80D7CF4FA6ED}" dt="2025-11-10T01:30:49.997" v="21"/>
        <pc:sldMkLst>
          <pc:docMk/>
          <pc:sldMk cId="1352817335" sldId="2239"/>
        </pc:sldMkLst>
      </pc:sldChg>
      <pc:sldChg chg="add">
        <pc:chgData name="Claire Rainey" userId="S::crainey@t1dexchange.org::c66522fd-7f79-4e4b-9477-0af3b7aa6656" providerId="AD" clId="Web-{F61199D1-5FF3-2606-0CBE-80D7CF4FA6ED}" dt="2025-11-10T01:32:57.170" v="23"/>
        <pc:sldMkLst>
          <pc:docMk/>
          <pc:sldMk cId="3301216693" sldId="2240"/>
        </pc:sldMkLst>
      </pc:sldChg>
      <pc:sldChg chg="add">
        <pc:chgData name="Claire Rainey" userId="S::crainey@t1dexchange.org::c66522fd-7f79-4e4b-9477-0af3b7aa6656" providerId="AD" clId="Web-{F61199D1-5FF3-2606-0CBE-80D7CF4FA6ED}" dt="2025-11-10T01:32:57.249" v="24"/>
        <pc:sldMkLst>
          <pc:docMk/>
          <pc:sldMk cId="1806519283" sldId="2241"/>
        </pc:sldMkLst>
      </pc:sldChg>
      <pc:sldChg chg="add">
        <pc:chgData name="Claire Rainey" userId="S::crainey@t1dexchange.org::c66522fd-7f79-4e4b-9477-0af3b7aa6656" providerId="AD" clId="Web-{F61199D1-5FF3-2606-0CBE-80D7CF4FA6ED}" dt="2025-11-10T01:32:57.342" v="25"/>
        <pc:sldMkLst>
          <pc:docMk/>
          <pc:sldMk cId="4294678603" sldId="2242"/>
        </pc:sldMkLst>
      </pc:sldChg>
      <pc:sldChg chg="add">
        <pc:chgData name="Claire Rainey" userId="S::crainey@t1dexchange.org::c66522fd-7f79-4e4b-9477-0af3b7aa6656" providerId="AD" clId="Web-{F61199D1-5FF3-2606-0CBE-80D7CF4FA6ED}" dt="2025-11-10T01:32:57.405" v="26"/>
        <pc:sldMkLst>
          <pc:docMk/>
          <pc:sldMk cId="1504782695" sldId="2243"/>
        </pc:sldMkLst>
      </pc:sldChg>
      <pc:sldChg chg="add">
        <pc:chgData name="Claire Rainey" userId="S::crainey@t1dexchange.org::c66522fd-7f79-4e4b-9477-0af3b7aa6656" providerId="AD" clId="Web-{F61199D1-5FF3-2606-0CBE-80D7CF4FA6ED}" dt="2025-11-10T01:32:57.514" v="27"/>
        <pc:sldMkLst>
          <pc:docMk/>
          <pc:sldMk cId="2677798333" sldId="2244"/>
        </pc:sldMkLst>
      </pc:sldChg>
      <pc:sldChg chg="add">
        <pc:chgData name="Claire Rainey" userId="S::crainey@t1dexchange.org::c66522fd-7f79-4e4b-9477-0af3b7aa6656" providerId="AD" clId="Web-{F61199D1-5FF3-2606-0CBE-80D7CF4FA6ED}" dt="2025-11-10T01:32:57.592" v="28"/>
        <pc:sldMkLst>
          <pc:docMk/>
          <pc:sldMk cId="81143659" sldId="2245"/>
        </pc:sldMkLst>
      </pc:sldChg>
      <pc:sldChg chg="add">
        <pc:chgData name="Claire Rainey" userId="S::crainey@t1dexchange.org::c66522fd-7f79-4e4b-9477-0af3b7aa6656" providerId="AD" clId="Web-{F61199D1-5FF3-2606-0CBE-80D7CF4FA6ED}" dt="2025-11-10T01:32:57.686" v="29"/>
        <pc:sldMkLst>
          <pc:docMk/>
          <pc:sldMk cId="1403724732" sldId="2246"/>
        </pc:sldMkLst>
      </pc:sldChg>
      <pc:sldChg chg="add">
        <pc:chgData name="Claire Rainey" userId="S::crainey@t1dexchange.org::c66522fd-7f79-4e4b-9477-0af3b7aa6656" providerId="AD" clId="Web-{F61199D1-5FF3-2606-0CBE-80D7CF4FA6ED}" dt="2025-11-10T01:32:57.780" v="30"/>
        <pc:sldMkLst>
          <pc:docMk/>
          <pc:sldMk cId="3845646923" sldId="2247"/>
        </pc:sldMkLst>
      </pc:sldChg>
      <pc:sldChg chg="add">
        <pc:chgData name="Claire Rainey" userId="S::crainey@t1dexchange.org::c66522fd-7f79-4e4b-9477-0af3b7aa6656" providerId="AD" clId="Web-{F61199D1-5FF3-2606-0CBE-80D7CF4FA6ED}" dt="2025-11-10T01:32:57.920" v="31"/>
        <pc:sldMkLst>
          <pc:docMk/>
          <pc:sldMk cId="2667071755" sldId="2248"/>
        </pc:sldMkLst>
      </pc:sldChg>
      <pc:sldChg chg="add">
        <pc:chgData name="Claire Rainey" userId="S::crainey@t1dexchange.org::c66522fd-7f79-4e4b-9477-0af3b7aa6656" providerId="AD" clId="Web-{F61199D1-5FF3-2606-0CBE-80D7CF4FA6ED}" dt="2025-11-10T01:32:57.999" v="32"/>
        <pc:sldMkLst>
          <pc:docMk/>
          <pc:sldMk cId="432195118" sldId="2249"/>
        </pc:sldMkLst>
      </pc:sldChg>
      <pc:sldChg chg="add">
        <pc:chgData name="Claire Rainey" userId="S::crainey@t1dexchange.org::c66522fd-7f79-4e4b-9477-0af3b7aa6656" providerId="AD" clId="Web-{F61199D1-5FF3-2606-0CBE-80D7CF4FA6ED}" dt="2025-11-10T01:32:58.077" v="33"/>
        <pc:sldMkLst>
          <pc:docMk/>
          <pc:sldMk cId="4123042631" sldId="2250"/>
        </pc:sldMkLst>
      </pc:sldChg>
      <pc:sldChg chg="add">
        <pc:chgData name="Claire Rainey" userId="S::crainey@t1dexchange.org::c66522fd-7f79-4e4b-9477-0af3b7aa6656" providerId="AD" clId="Web-{F61199D1-5FF3-2606-0CBE-80D7CF4FA6ED}" dt="2025-11-10T01:32:58.295" v="34"/>
        <pc:sldMkLst>
          <pc:docMk/>
          <pc:sldMk cId="3881416332" sldId="2251"/>
        </pc:sldMkLst>
      </pc:sldChg>
      <pc:sldChg chg="add">
        <pc:chgData name="Claire Rainey" userId="S::crainey@t1dexchange.org::c66522fd-7f79-4e4b-9477-0af3b7aa6656" providerId="AD" clId="Web-{F61199D1-5FF3-2606-0CBE-80D7CF4FA6ED}" dt="2025-11-10T01:32:58.514" v="35"/>
        <pc:sldMkLst>
          <pc:docMk/>
          <pc:sldMk cId="2646243204" sldId="2252"/>
        </pc:sldMkLst>
      </pc:sldChg>
      <pc:sldMasterChg chg="addSldLayout modSldLayout">
        <pc:chgData name="Claire Rainey" userId="S::crainey@t1dexchange.org::c66522fd-7f79-4e4b-9477-0af3b7aa6656" providerId="AD" clId="Web-{F61199D1-5FF3-2606-0CBE-80D7CF4FA6ED}" dt="2025-11-10T01:30:47.372" v="11"/>
        <pc:sldMasterMkLst>
          <pc:docMk/>
          <pc:sldMasterMk cId="2460954070" sldId="2147484007"/>
        </pc:sldMasterMkLst>
        <pc:sldLayoutChg chg="add">
          <pc:chgData name="Claire Rainey" userId="S::crainey@t1dexchange.org::c66522fd-7f79-4e4b-9477-0af3b7aa6656" providerId="AD" clId="Web-{F61199D1-5FF3-2606-0CBE-80D7CF4FA6ED}" dt="2025-11-10T01:30:47.372" v="11"/>
          <pc:sldLayoutMkLst>
            <pc:docMk/>
            <pc:sldMasterMk cId="2460954070" sldId="2147484007"/>
            <pc:sldLayoutMk cId="2444888385" sldId="2147483672"/>
          </pc:sldLayoutMkLst>
        </pc:sldLayoutChg>
        <pc:sldLayoutChg chg="replId">
          <pc:chgData name="Claire Rainey" userId="S::crainey@t1dexchange.org::c66522fd-7f79-4e4b-9477-0af3b7aa6656" providerId="AD" clId="Web-{F61199D1-5FF3-2606-0CBE-80D7CF4FA6ED}" dt="2025-11-10T01:30:47.372" v="11"/>
          <pc:sldLayoutMkLst>
            <pc:docMk/>
            <pc:sldMasterMk cId="2460954070" sldId="2147484007"/>
            <pc:sldLayoutMk cId="1224580592" sldId="2147484014"/>
          </pc:sldLayoutMkLst>
        </pc:sldLayoutChg>
        <pc:sldLayoutChg chg="add">
          <pc:chgData name="Claire Rainey" userId="S::crainey@t1dexchange.org::c66522fd-7f79-4e4b-9477-0af3b7aa6656" providerId="AD" clId="Web-{F61199D1-5FF3-2606-0CBE-80D7CF4FA6ED}" dt="2025-11-10T01:30:47.372" v="11"/>
          <pc:sldLayoutMkLst>
            <pc:docMk/>
            <pc:sldMasterMk cId="2460954070" sldId="2147484007"/>
            <pc:sldLayoutMk cId="701022315" sldId="2147484015"/>
          </pc:sldLayoutMkLst>
        </pc:sldLayoutChg>
        <pc:sldLayoutChg chg="add">
          <pc:chgData name="Claire Rainey" userId="S::crainey@t1dexchange.org::c66522fd-7f79-4e4b-9477-0af3b7aa6656" providerId="AD" clId="Web-{F61199D1-5FF3-2606-0CBE-80D7CF4FA6ED}" dt="2025-11-10T01:30:47.372" v="11"/>
          <pc:sldLayoutMkLst>
            <pc:docMk/>
            <pc:sldMasterMk cId="2460954070" sldId="2147484007"/>
            <pc:sldLayoutMk cId="3491762754" sldId="2147484016"/>
          </pc:sldLayoutMkLst>
        </pc:sldLayoutChg>
        <pc:sldLayoutChg chg="add">
          <pc:chgData name="Claire Rainey" userId="S::crainey@t1dexchange.org::c66522fd-7f79-4e4b-9477-0af3b7aa6656" providerId="AD" clId="Web-{F61199D1-5FF3-2606-0CBE-80D7CF4FA6ED}" dt="2025-11-10T01:30:47.372" v="11"/>
          <pc:sldLayoutMkLst>
            <pc:docMk/>
            <pc:sldMasterMk cId="2460954070" sldId="2147484007"/>
            <pc:sldLayoutMk cId="1863262711" sldId="2147484017"/>
          </pc:sldLayoutMkLst>
        </pc:sldLayoutChg>
      </pc:sldMasterChg>
    </pc:docChg>
  </pc:docChgLst>
  <pc:docChgLst>
    <pc:chgData name="Claire Rainey" userId="S::crainey@t1dexchange.org::c66522fd-7f79-4e4b-9477-0af3b7aa6656" providerId="AD" clId="Web-{123CC0CC-E0E9-6C10-8C3E-21812B6F1771}"/>
    <pc:docChg chg="addSld delSld modSld addMainMaster modMainMaster">
      <pc:chgData name="Claire Rainey" userId="S::crainey@t1dexchange.org::c66522fd-7f79-4e4b-9477-0af3b7aa6656" providerId="AD" clId="Web-{123CC0CC-E0E9-6C10-8C3E-21812B6F1771}" dt="2025-10-30T20:44:47.406" v="10" actId="20577"/>
      <pc:docMkLst>
        <pc:docMk/>
      </pc:docMkLst>
      <pc:sldChg chg="modSp add">
        <pc:chgData name="Claire Rainey" userId="S::crainey@t1dexchange.org::c66522fd-7f79-4e4b-9477-0af3b7aa6656" providerId="AD" clId="Web-{123CC0CC-E0E9-6C10-8C3E-21812B6F1771}" dt="2025-10-30T20:44:47.406" v="10" actId="20577"/>
        <pc:sldMkLst>
          <pc:docMk/>
          <pc:sldMk cId="3329208454" sldId="703"/>
        </pc:sldMkLst>
        <pc:spChg chg="mod">
          <ac:chgData name="Claire Rainey" userId="S::crainey@t1dexchange.org::c66522fd-7f79-4e4b-9477-0af3b7aa6656" providerId="AD" clId="Web-{123CC0CC-E0E9-6C10-8C3E-21812B6F1771}" dt="2025-10-30T20:44:47.406" v="10" actId="20577"/>
          <ac:spMkLst>
            <pc:docMk/>
            <pc:sldMk cId="3329208454" sldId="703"/>
            <ac:spMk id="8" creationId="{6061F7A1-CFF8-D342-A9AF-5CB080C98BD0}"/>
          </ac:spMkLst>
        </pc:spChg>
      </pc:sldChg>
      <pc:sldMasterChg chg="add addSldLayout">
        <pc:chgData name="Claire Rainey" userId="S::crainey@t1dexchange.org::c66522fd-7f79-4e4b-9477-0af3b7aa6656" providerId="AD" clId="Web-{123CC0CC-E0E9-6C10-8C3E-21812B6F1771}" dt="2025-10-30T20:38:09.036" v="0"/>
        <pc:sldMasterMkLst>
          <pc:docMk/>
          <pc:sldMasterMk cId="297052780" sldId="2147483858"/>
        </pc:sldMasterMkLst>
        <pc:sldLayoutChg chg="add">
          <pc:chgData name="Claire Rainey" userId="S::crainey@t1dexchange.org::c66522fd-7f79-4e4b-9477-0af3b7aa6656" providerId="AD" clId="Web-{123CC0CC-E0E9-6C10-8C3E-21812B6F1771}" dt="2025-10-30T20:38:09.036" v="0"/>
          <pc:sldLayoutMkLst>
            <pc:docMk/>
            <pc:sldMasterMk cId="297052780" sldId="2147483858"/>
            <pc:sldLayoutMk cId="1484069995" sldId="2147483855"/>
          </pc:sldLayoutMkLst>
        </pc:sldLayoutChg>
        <pc:sldLayoutChg chg="add">
          <pc:chgData name="Claire Rainey" userId="S::crainey@t1dexchange.org::c66522fd-7f79-4e4b-9477-0af3b7aa6656" providerId="AD" clId="Web-{123CC0CC-E0E9-6C10-8C3E-21812B6F1771}" dt="2025-10-30T20:38:09.036" v="0"/>
          <pc:sldLayoutMkLst>
            <pc:docMk/>
            <pc:sldMasterMk cId="297052780" sldId="2147483858"/>
            <pc:sldLayoutMk cId="3750089566" sldId="2147483859"/>
          </pc:sldLayoutMkLst>
        </pc:sldLayoutChg>
        <pc:sldLayoutChg chg="add">
          <pc:chgData name="Claire Rainey" userId="S::crainey@t1dexchange.org::c66522fd-7f79-4e4b-9477-0af3b7aa6656" providerId="AD" clId="Web-{123CC0CC-E0E9-6C10-8C3E-21812B6F1771}" dt="2025-10-30T20:38:09.036" v="0"/>
          <pc:sldLayoutMkLst>
            <pc:docMk/>
            <pc:sldMasterMk cId="297052780" sldId="2147483858"/>
            <pc:sldLayoutMk cId="1062317506" sldId="2147484013"/>
          </pc:sldLayoutMkLst>
        </pc:sldLayoutChg>
      </pc:sldMasterChg>
      <pc:sldMasterChg chg="modSldLayout">
        <pc:chgData name="Claire Rainey" userId="S::crainey@t1dexchange.org::c66522fd-7f79-4e4b-9477-0af3b7aa6656" providerId="AD" clId="Web-{123CC0CC-E0E9-6C10-8C3E-21812B6F1771}" dt="2025-10-30T20:38:09.036" v="0"/>
        <pc:sldMasterMkLst>
          <pc:docMk/>
          <pc:sldMasterMk cId="2460954070" sldId="2147484007"/>
        </pc:sldMasterMkLst>
        <pc:sldLayoutChg chg="replId">
          <pc:chgData name="Claire Rainey" userId="S::crainey@t1dexchange.org::c66522fd-7f79-4e4b-9477-0af3b7aa6656" providerId="AD" clId="Web-{123CC0CC-E0E9-6C10-8C3E-21812B6F1771}" dt="2025-10-30T20:38:09.036" v="0"/>
          <pc:sldLayoutMkLst>
            <pc:docMk/>
            <pc:sldMasterMk cId="2460954070" sldId="2147484007"/>
            <pc:sldLayoutMk cId="2591524520" sldId="2147483663"/>
          </pc:sldLayoutMkLst>
        </pc:sldLayoutChg>
        <pc:sldLayoutChg chg="replId">
          <pc:chgData name="Claire Rainey" userId="S::crainey@t1dexchange.org::c66522fd-7f79-4e4b-9477-0af3b7aa6656" providerId="AD" clId="Web-{123CC0CC-E0E9-6C10-8C3E-21812B6F1771}" dt="2025-10-30T20:38:09.036" v="0"/>
          <pc:sldLayoutMkLst>
            <pc:docMk/>
            <pc:sldMasterMk cId="2460954070" sldId="2147484007"/>
            <pc:sldLayoutMk cId="1718958274" sldId="2147483669"/>
          </pc:sldLayoutMkLst>
        </pc:sldLayoutChg>
      </pc:sldMasterChg>
    </pc:docChg>
  </pc:docChgLst>
  <pc:docChgLst>
    <pc:chgData name="Claire Rainey" userId="S::crainey@t1dexchange.org::c66522fd-7f79-4e4b-9477-0af3b7aa6656" providerId="AD" clId="Web-{645293C7-7FCA-E8BC-3916-A79B8B6503A1}"/>
    <pc:docChg chg="addSld delSld addMainMaster modMainMaster">
      <pc:chgData name="Claire Rainey" userId="S::crainey@t1dexchange.org::c66522fd-7f79-4e4b-9477-0af3b7aa6656" providerId="AD" clId="Web-{645293C7-7FCA-E8BC-3916-A79B8B6503A1}" dt="2025-11-06T14:22:32.984" v="10"/>
      <pc:docMkLst>
        <pc:docMk/>
      </pc:docMkLst>
      <pc:sldChg chg="add">
        <pc:chgData name="Claire Rainey" userId="S::crainey@t1dexchange.org::c66522fd-7f79-4e4b-9477-0af3b7aa6656" providerId="AD" clId="Web-{645293C7-7FCA-E8BC-3916-A79B8B6503A1}" dt="2025-11-06T14:22:31.671" v="1"/>
        <pc:sldMkLst>
          <pc:docMk/>
          <pc:sldMk cId="3142096020" sldId="2218"/>
        </pc:sldMkLst>
      </pc:sldChg>
      <pc:sldChg chg="add">
        <pc:chgData name="Claire Rainey" userId="S::crainey@t1dexchange.org::c66522fd-7f79-4e4b-9477-0af3b7aa6656" providerId="AD" clId="Web-{645293C7-7FCA-E8BC-3916-A79B8B6503A1}" dt="2025-11-06T14:22:31.749" v="2"/>
        <pc:sldMkLst>
          <pc:docMk/>
          <pc:sldMk cId="2721087187" sldId="2219"/>
        </pc:sldMkLst>
      </pc:sldChg>
      <pc:sldChg chg="add">
        <pc:chgData name="Claire Rainey" userId="S::crainey@t1dexchange.org::c66522fd-7f79-4e4b-9477-0af3b7aa6656" providerId="AD" clId="Web-{645293C7-7FCA-E8BC-3916-A79B8B6503A1}" dt="2025-11-06T14:22:31.827" v="3"/>
        <pc:sldMkLst>
          <pc:docMk/>
          <pc:sldMk cId="2644947018" sldId="2220"/>
        </pc:sldMkLst>
      </pc:sldChg>
      <pc:sldChg chg="add">
        <pc:chgData name="Claire Rainey" userId="S::crainey@t1dexchange.org::c66522fd-7f79-4e4b-9477-0af3b7aa6656" providerId="AD" clId="Web-{645293C7-7FCA-E8BC-3916-A79B8B6503A1}" dt="2025-11-06T14:22:31.952" v="4"/>
        <pc:sldMkLst>
          <pc:docMk/>
          <pc:sldMk cId="3293529160" sldId="2221"/>
        </pc:sldMkLst>
      </pc:sldChg>
      <pc:sldChg chg="add">
        <pc:chgData name="Claire Rainey" userId="S::crainey@t1dexchange.org::c66522fd-7f79-4e4b-9477-0af3b7aa6656" providerId="AD" clId="Web-{645293C7-7FCA-E8BC-3916-A79B8B6503A1}" dt="2025-11-06T14:22:32.124" v="5"/>
        <pc:sldMkLst>
          <pc:docMk/>
          <pc:sldMk cId="903460418" sldId="2222"/>
        </pc:sldMkLst>
      </pc:sldChg>
      <pc:sldChg chg="add">
        <pc:chgData name="Claire Rainey" userId="S::crainey@t1dexchange.org::c66522fd-7f79-4e4b-9477-0af3b7aa6656" providerId="AD" clId="Web-{645293C7-7FCA-E8BC-3916-A79B8B6503A1}" dt="2025-11-06T14:22:32.343" v="6"/>
        <pc:sldMkLst>
          <pc:docMk/>
          <pc:sldMk cId="964633902" sldId="2223"/>
        </pc:sldMkLst>
      </pc:sldChg>
      <pc:sldChg chg="add">
        <pc:chgData name="Claire Rainey" userId="S::crainey@t1dexchange.org::c66522fd-7f79-4e4b-9477-0af3b7aa6656" providerId="AD" clId="Web-{645293C7-7FCA-E8BC-3916-A79B8B6503A1}" dt="2025-11-06T14:22:32.468" v="7"/>
        <pc:sldMkLst>
          <pc:docMk/>
          <pc:sldMk cId="1707202044" sldId="2224"/>
        </pc:sldMkLst>
      </pc:sldChg>
      <pc:sldChg chg="add">
        <pc:chgData name="Claire Rainey" userId="S::crainey@t1dexchange.org::c66522fd-7f79-4e4b-9477-0af3b7aa6656" providerId="AD" clId="Web-{645293C7-7FCA-E8BC-3916-A79B8B6503A1}" dt="2025-11-06T14:22:32.843" v="8"/>
        <pc:sldMkLst>
          <pc:docMk/>
          <pc:sldMk cId="4236678199" sldId="2225"/>
        </pc:sldMkLst>
      </pc:sldChg>
      <pc:sldChg chg="add">
        <pc:chgData name="Claire Rainey" userId="S::crainey@t1dexchange.org::c66522fd-7f79-4e4b-9477-0af3b7aa6656" providerId="AD" clId="Web-{645293C7-7FCA-E8BC-3916-A79B8B6503A1}" dt="2025-11-06T14:22:32.905" v="9"/>
        <pc:sldMkLst>
          <pc:docMk/>
          <pc:sldMk cId="556416700" sldId="2226"/>
        </pc:sldMkLst>
      </pc:sldChg>
      <pc:sldChg chg="add">
        <pc:chgData name="Claire Rainey" userId="S::crainey@t1dexchange.org::c66522fd-7f79-4e4b-9477-0af3b7aa6656" providerId="AD" clId="Web-{645293C7-7FCA-E8BC-3916-A79B8B6503A1}" dt="2025-11-06T14:22:32.984" v="10"/>
        <pc:sldMkLst>
          <pc:docMk/>
          <pc:sldMk cId="692369152" sldId="2227"/>
        </pc:sldMkLst>
      </pc:sldChg>
      <pc:sldMasterChg chg="add addSldLayout">
        <pc:chgData name="Claire Rainey" userId="S::crainey@t1dexchange.org::c66522fd-7f79-4e4b-9477-0af3b7aa6656" providerId="AD" clId="Web-{645293C7-7FCA-E8BC-3916-A79B8B6503A1}" dt="2025-11-06T14:22:31.671" v="1"/>
        <pc:sldMasterMkLst>
          <pc:docMk/>
          <pc:sldMasterMk cId="2059117905" sldId="2147483678"/>
        </pc:sldMasterMkLst>
        <pc:sldLayoutChg chg="add">
          <pc:chgData name="Claire Rainey" userId="S::crainey@t1dexchange.org::c66522fd-7f79-4e4b-9477-0af3b7aa6656" providerId="AD" clId="Web-{645293C7-7FCA-E8BC-3916-A79B8B6503A1}" dt="2025-11-06T14:22:31.671" v="1"/>
          <pc:sldLayoutMkLst>
            <pc:docMk/>
            <pc:sldMasterMk cId="2059117905" sldId="2147483678"/>
            <pc:sldLayoutMk cId="162371608" sldId="2147483679"/>
          </pc:sldLayoutMkLst>
        </pc:sldLayoutChg>
        <pc:sldLayoutChg chg="add">
          <pc:chgData name="Claire Rainey" userId="S::crainey@t1dexchange.org::c66522fd-7f79-4e4b-9477-0af3b7aa6656" providerId="AD" clId="Web-{645293C7-7FCA-E8BC-3916-A79B8B6503A1}" dt="2025-11-06T14:22:31.671" v="1"/>
          <pc:sldLayoutMkLst>
            <pc:docMk/>
            <pc:sldMasterMk cId="2059117905" sldId="2147483678"/>
            <pc:sldLayoutMk cId="76126632" sldId="2147483681"/>
          </pc:sldLayoutMkLst>
        </pc:sldLayoutChg>
        <pc:sldLayoutChg chg="add">
          <pc:chgData name="Claire Rainey" userId="S::crainey@t1dexchange.org::c66522fd-7f79-4e4b-9477-0af3b7aa6656" providerId="AD" clId="Web-{645293C7-7FCA-E8BC-3916-A79B8B6503A1}" dt="2025-11-06T14:22:31.671" v="1"/>
          <pc:sldLayoutMkLst>
            <pc:docMk/>
            <pc:sldMasterMk cId="2059117905" sldId="2147483678"/>
            <pc:sldLayoutMk cId="3541039777" sldId="2147483683"/>
          </pc:sldLayoutMkLst>
        </pc:sldLayoutChg>
        <pc:sldLayoutChg chg="add">
          <pc:chgData name="Claire Rainey" userId="S::crainey@t1dexchange.org::c66522fd-7f79-4e4b-9477-0af3b7aa6656" providerId="AD" clId="Web-{645293C7-7FCA-E8BC-3916-A79B8B6503A1}" dt="2025-11-06T14:22:31.671" v="1"/>
          <pc:sldLayoutMkLst>
            <pc:docMk/>
            <pc:sldMasterMk cId="2059117905" sldId="2147483678"/>
            <pc:sldLayoutMk cId="3500528711" sldId="2147483684"/>
          </pc:sldLayoutMkLst>
        </pc:sldLayoutChg>
        <pc:sldLayoutChg chg="add">
          <pc:chgData name="Claire Rainey" userId="S::crainey@t1dexchange.org::c66522fd-7f79-4e4b-9477-0af3b7aa6656" providerId="AD" clId="Web-{645293C7-7FCA-E8BC-3916-A79B8B6503A1}" dt="2025-11-06T14:22:31.671" v="1"/>
          <pc:sldLayoutMkLst>
            <pc:docMk/>
            <pc:sldMasterMk cId="2059117905" sldId="2147483678"/>
            <pc:sldLayoutMk cId="2423387114" sldId="2147483685"/>
          </pc:sldLayoutMkLst>
        </pc:sldLayoutChg>
        <pc:sldLayoutChg chg="add">
          <pc:chgData name="Claire Rainey" userId="S::crainey@t1dexchange.org::c66522fd-7f79-4e4b-9477-0af3b7aa6656" providerId="AD" clId="Web-{645293C7-7FCA-E8BC-3916-A79B8B6503A1}" dt="2025-11-06T14:22:31.671" v="1"/>
          <pc:sldLayoutMkLst>
            <pc:docMk/>
            <pc:sldMasterMk cId="2059117905" sldId="2147483678"/>
            <pc:sldLayoutMk cId="3324264596" sldId="2147483686"/>
          </pc:sldLayoutMkLst>
        </pc:sldLayoutChg>
        <pc:sldLayoutChg chg="add">
          <pc:chgData name="Claire Rainey" userId="S::crainey@t1dexchange.org::c66522fd-7f79-4e4b-9477-0af3b7aa6656" providerId="AD" clId="Web-{645293C7-7FCA-E8BC-3916-A79B8B6503A1}" dt="2025-11-06T14:22:31.671" v="1"/>
          <pc:sldLayoutMkLst>
            <pc:docMk/>
            <pc:sldMasterMk cId="2059117905" sldId="2147483678"/>
            <pc:sldLayoutMk cId="1605800158" sldId="2147483687"/>
          </pc:sldLayoutMkLst>
        </pc:sldLayoutChg>
        <pc:sldLayoutChg chg="add">
          <pc:chgData name="Claire Rainey" userId="S::crainey@t1dexchange.org::c66522fd-7f79-4e4b-9477-0af3b7aa6656" providerId="AD" clId="Web-{645293C7-7FCA-E8BC-3916-A79B8B6503A1}" dt="2025-11-06T14:22:31.671" v="1"/>
          <pc:sldLayoutMkLst>
            <pc:docMk/>
            <pc:sldMasterMk cId="2059117905" sldId="2147483678"/>
            <pc:sldLayoutMk cId="2407525823" sldId="2147483688"/>
          </pc:sldLayoutMkLst>
        </pc:sldLayoutChg>
        <pc:sldLayoutChg chg="add">
          <pc:chgData name="Claire Rainey" userId="S::crainey@t1dexchange.org::c66522fd-7f79-4e4b-9477-0af3b7aa6656" providerId="AD" clId="Web-{645293C7-7FCA-E8BC-3916-A79B8B6503A1}" dt="2025-11-06T14:22:31.671" v="1"/>
          <pc:sldLayoutMkLst>
            <pc:docMk/>
            <pc:sldMasterMk cId="2059117905" sldId="2147483678"/>
            <pc:sldLayoutMk cId="4281098256" sldId="2147483689"/>
          </pc:sldLayoutMkLst>
        </pc:sldLayoutChg>
        <pc:sldLayoutChg chg="add">
          <pc:chgData name="Claire Rainey" userId="S::crainey@t1dexchange.org::c66522fd-7f79-4e4b-9477-0af3b7aa6656" providerId="AD" clId="Web-{645293C7-7FCA-E8BC-3916-A79B8B6503A1}" dt="2025-11-06T14:22:31.671" v="1"/>
          <pc:sldLayoutMkLst>
            <pc:docMk/>
            <pc:sldMasterMk cId="2059117905" sldId="2147483678"/>
            <pc:sldLayoutMk cId="431688752" sldId="2147483690"/>
          </pc:sldLayoutMkLst>
        </pc:sldLayoutChg>
      </pc:sldMasterChg>
      <pc:sldMasterChg chg="modSldLayout">
        <pc:chgData name="Claire Rainey" userId="S::crainey@t1dexchange.org::c66522fd-7f79-4e4b-9477-0af3b7aa6656" providerId="AD" clId="Web-{645293C7-7FCA-E8BC-3916-A79B8B6503A1}" dt="2025-11-06T14:22:31.671" v="1"/>
        <pc:sldMasterMkLst>
          <pc:docMk/>
          <pc:sldMasterMk cId="297052780" sldId="2147483858"/>
        </pc:sldMasterMkLst>
        <pc:sldLayoutChg chg="replId">
          <pc:chgData name="Claire Rainey" userId="S::crainey@t1dexchange.org::c66522fd-7f79-4e4b-9477-0af3b7aa6656" providerId="AD" clId="Web-{645293C7-7FCA-E8BC-3916-A79B8B6503A1}" dt="2025-11-06T14:22:31.671" v="1"/>
          <pc:sldLayoutMkLst>
            <pc:docMk/>
            <pc:sldMasterMk cId="297052780" sldId="2147483858"/>
            <pc:sldLayoutMk cId="1062317506" sldId="2147484013"/>
          </pc:sldLayoutMkLst>
        </pc:sldLayoutChg>
      </pc:sldMasterChg>
    </pc:docChg>
  </pc:docChgLst>
  <pc:docChgLst>
    <pc:chgData name="Claire Rainey" userId="S::crainey@t1dexchange.org::c66522fd-7f79-4e4b-9477-0af3b7aa6656" providerId="AD" clId="Web-{B5EECC1F-33FC-BAD6-945B-35D1539C36C2}"/>
    <pc:docChg chg="addSld">
      <pc:chgData name="Claire Rainey" userId="S::crainey@t1dexchange.org::c66522fd-7f79-4e4b-9477-0af3b7aa6656" providerId="AD" clId="Web-{B5EECC1F-33FC-BAD6-945B-35D1539C36C2}" dt="2025-11-07T20:12:07.676" v="0"/>
      <pc:docMkLst>
        <pc:docMk/>
      </pc:docMkLst>
      <pc:sldChg chg="add">
        <pc:chgData name="Claire Rainey" userId="S::crainey@t1dexchange.org::c66522fd-7f79-4e4b-9477-0af3b7aa6656" providerId="AD" clId="Web-{B5EECC1F-33FC-BAD6-945B-35D1539C36C2}" dt="2025-11-07T20:12:07.676" v="0"/>
        <pc:sldMkLst>
          <pc:docMk/>
          <pc:sldMk cId="3447567435" sldId="222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emory-my.sharepoint.com/personal/mdouthi_emory_edu/Documents/Fellowship/Transition%20Research%20Project/DM%20GRAD%20Program%20Documentation.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emory-my.sharepoint.com/personal/mdouthi_emory_edu/Documents/Fellowship/Transition%20Research%20Project/Transition%20Project%20Data.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HCT</a:t>
            </a:r>
            <a:r>
              <a:rPr lang="en-US" b="1" baseline="0" dirty="0"/>
              <a:t> Tool </a:t>
            </a:r>
            <a:r>
              <a:rPr lang="en-US" b="1" dirty="0"/>
              <a:t>User Satisfaction Survey</a:t>
            </a:r>
          </a:p>
          <a:p>
            <a:pPr>
              <a:defRPr/>
            </a:pPr>
            <a:r>
              <a:rPr lang="en-US" sz="1200" dirty="0"/>
              <a:t>In reference to the Transition Navigator tool in EPIC,</a:t>
            </a:r>
            <a:r>
              <a:rPr lang="en-US" sz="1200" baseline="0" dirty="0"/>
              <a:t> how satisfied are you with...</a:t>
            </a:r>
            <a:r>
              <a:rPr lang="en-US" sz="1600" dirty="0"/>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DM GRAD Program Documentation.xlsx]Satisfaction Survey'!$B$1</c:f>
              <c:strCache>
                <c:ptCount val="1"/>
                <c:pt idx="0">
                  <c:v>Average</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M GRAD Program Documentation.xlsx]Satisfaction Survey'!$A$2:$A$7</c:f>
              <c:strCache>
                <c:ptCount val="6"/>
                <c:pt idx="0">
                  <c:v>Ease of using the tool?</c:v>
                </c:pt>
                <c:pt idx="1">
                  <c:v>The flow and layout of the tool?</c:v>
                </c:pt>
                <c:pt idx="2">
                  <c:v>The time it takes to use the tool in clinic?</c:v>
                </c:pt>
                <c:pt idx="3">
                  <c:v>The training you were given prior to using the tool?</c:v>
                </c:pt>
                <c:pt idx="4">
                  <c:v>Technical assistance or troubleshooting in using the tool?</c:v>
                </c:pt>
                <c:pt idx="5">
                  <c:v>The accessibility of the tool?</c:v>
                </c:pt>
              </c:strCache>
            </c:strRef>
          </c:cat>
          <c:val>
            <c:numRef>
              <c:f>'[DM GRAD Program Documentation.xlsx]Satisfaction Survey'!$B$2:$B$7</c:f>
              <c:numCache>
                <c:formatCode>General</c:formatCode>
                <c:ptCount val="6"/>
                <c:pt idx="0">
                  <c:v>4.8</c:v>
                </c:pt>
                <c:pt idx="1">
                  <c:v>5</c:v>
                </c:pt>
                <c:pt idx="2">
                  <c:v>4.7</c:v>
                </c:pt>
                <c:pt idx="3">
                  <c:v>4.8</c:v>
                </c:pt>
                <c:pt idx="4">
                  <c:v>4.4000000000000004</c:v>
                </c:pt>
                <c:pt idx="5">
                  <c:v>5.4</c:v>
                </c:pt>
              </c:numCache>
            </c:numRef>
          </c:val>
          <c:extLst>
            <c:ext xmlns:c16="http://schemas.microsoft.com/office/drawing/2014/chart" uri="{C3380CC4-5D6E-409C-BE32-E72D297353CC}">
              <c16:uniqueId val="{00000000-8FA7-403C-A502-3A458A48F8CD}"/>
            </c:ext>
          </c:extLst>
        </c:ser>
        <c:dLbls>
          <c:dLblPos val="inEnd"/>
          <c:showLegendKey val="0"/>
          <c:showVal val="1"/>
          <c:showCatName val="0"/>
          <c:showSerName val="0"/>
          <c:showPercent val="0"/>
          <c:showBubbleSize val="0"/>
        </c:dLbls>
        <c:gapWidth val="182"/>
        <c:axId val="487868335"/>
        <c:axId val="487867855"/>
      </c:barChart>
      <c:catAx>
        <c:axId val="4878683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487867855"/>
        <c:crosses val="autoZero"/>
        <c:auto val="1"/>
        <c:lblAlgn val="ctr"/>
        <c:lblOffset val="100"/>
        <c:noMultiLvlLbl val="0"/>
      </c:catAx>
      <c:valAx>
        <c:axId val="48786785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4878683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3"/>
          <c:order val="3"/>
          <c:tx>
            <c:strRef>
              <c:f>'Runchart-Collective'!$F$1</c:f>
              <c:strCache>
                <c:ptCount val="1"/>
                <c:pt idx="0">
                  <c:v>Provider Smartform</c:v>
                </c:pt>
              </c:strCache>
            </c:strRef>
          </c:tx>
          <c:spPr>
            <a:ln w="19050" cap="rnd">
              <a:solidFill>
                <a:srgbClr val="009639"/>
              </a:solidFill>
              <a:round/>
            </a:ln>
            <a:effectLst/>
          </c:spPr>
          <c:marker>
            <c:symbol val="circle"/>
            <c:size val="5"/>
            <c:spPr>
              <a:solidFill>
                <a:schemeClr val="accent4"/>
              </a:solidFill>
              <a:ln w="9525">
                <a:solidFill>
                  <a:srgbClr val="00B050"/>
                </a:solidFill>
              </a:ln>
              <a:effectLst/>
            </c:spPr>
          </c:marker>
          <c:cat>
            <c:strRef>
              <c:f>'Runchart-Collective'!$A$95:$A$106</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Runchart-Collective'!$F$95:$F$106</c:f>
              <c:numCache>
                <c:formatCode>0.00%</c:formatCode>
                <c:ptCount val="12"/>
                <c:pt idx="0">
                  <c:v>0.25750000000000001</c:v>
                </c:pt>
                <c:pt idx="1">
                  <c:v>0.16250000000000001</c:v>
                </c:pt>
                <c:pt idx="2">
                  <c:v>0.12000000000000001</c:v>
                </c:pt>
                <c:pt idx="3">
                  <c:v>0.16750000000000001</c:v>
                </c:pt>
                <c:pt idx="4">
                  <c:v>0.1225</c:v>
                </c:pt>
                <c:pt idx="5">
                  <c:v>0.10750000000000001</c:v>
                </c:pt>
                <c:pt idx="6">
                  <c:v>0.10250000000000001</c:v>
                </c:pt>
                <c:pt idx="7">
                  <c:v>0.1875</c:v>
                </c:pt>
                <c:pt idx="8">
                  <c:v>9.4E-2</c:v>
                </c:pt>
                <c:pt idx="9">
                  <c:v>0.15</c:v>
                </c:pt>
                <c:pt idx="10">
                  <c:v>0.27</c:v>
                </c:pt>
                <c:pt idx="11">
                  <c:v>0.2</c:v>
                </c:pt>
              </c:numCache>
            </c:numRef>
          </c:val>
          <c:smooth val="0"/>
          <c:extLst xmlns:c15="http://schemas.microsoft.com/office/drawing/2012/chart">
            <c:ext xmlns:c16="http://schemas.microsoft.com/office/drawing/2014/chart" uri="{C3380CC4-5D6E-409C-BE32-E72D297353CC}">
              <c16:uniqueId val="{00000000-2D71-4F55-B4D2-E599D8D093CB}"/>
            </c:ext>
          </c:extLst>
        </c:ser>
        <c:dLbls>
          <c:showLegendKey val="0"/>
          <c:showVal val="0"/>
          <c:showCatName val="0"/>
          <c:showSerName val="0"/>
          <c:showPercent val="0"/>
          <c:showBubbleSize val="0"/>
        </c:dLbls>
        <c:marker val="1"/>
        <c:smooth val="0"/>
        <c:axId val="1852132640"/>
        <c:axId val="1852125440"/>
        <c:extLst>
          <c:ext xmlns:c15="http://schemas.microsoft.com/office/drawing/2012/chart" uri="{02D57815-91ED-43cb-92C2-25804820EDAC}">
            <c15:filteredLineSeries>
              <c15:ser>
                <c:idx val="0"/>
                <c:order val="0"/>
                <c:tx>
                  <c:strRef>
                    <c:extLst>
                      <c:ext uri="{02D57815-91ED-43cb-92C2-25804820EDAC}">
                        <c15:formulaRef>
                          <c15:sqref>'Runchart-Collective'!$B$1</c15:sqref>
                        </c15:formulaRef>
                      </c:ext>
                    </c:extLst>
                    <c:strCache>
                      <c:ptCount val="1"/>
                      <c:pt idx="0">
                        <c:v>Any Transition Discussion</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cat>
                  <c:strRef>
                    <c:extLst>
                      <c:ext uri="{02D57815-91ED-43cb-92C2-25804820EDAC}">
                        <c15:formulaRef>
                          <c15:sqref>'Runchart-Collective'!$A$95:$A$106</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c:ext uri="{02D57815-91ED-43cb-92C2-25804820EDAC}">
                        <c15:formulaRef>
                          <c15:sqref>'Runchart-Collective'!$B$91:$B$100</c15:sqref>
                        </c15:formulaRef>
                      </c:ext>
                    </c:extLst>
                    <c:numCache>
                      <c:formatCode>0.00%</c:formatCode>
                      <c:ptCount val="10"/>
                      <c:pt idx="1">
                        <c:v>0.18</c:v>
                      </c:pt>
                      <c:pt idx="2">
                        <c:v>0.29000000000000004</c:v>
                      </c:pt>
                      <c:pt idx="3">
                        <c:v>0.44500000000000001</c:v>
                      </c:pt>
                      <c:pt idx="4">
                        <c:v>0.41600000000000004</c:v>
                      </c:pt>
                      <c:pt idx="5">
                        <c:v>0.46749999999999997</c:v>
                      </c:pt>
                      <c:pt idx="6">
                        <c:v>0.45750000000000002</c:v>
                      </c:pt>
                      <c:pt idx="7">
                        <c:v>0.47400000000000003</c:v>
                      </c:pt>
                      <c:pt idx="8">
                        <c:v>0.44</c:v>
                      </c:pt>
                    </c:numCache>
                  </c:numRef>
                </c:val>
                <c:smooth val="0"/>
                <c:extLst>
                  <c:ext xmlns:c16="http://schemas.microsoft.com/office/drawing/2014/chart" uri="{C3380CC4-5D6E-409C-BE32-E72D297353CC}">
                    <c16:uniqueId val="{00000001-2D71-4F55-B4D2-E599D8D093CB}"/>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Runchart-Collective'!$C$1</c15:sqref>
                        </c15:formulaRef>
                      </c:ext>
                    </c:extLst>
                    <c:strCache>
                      <c:ptCount val="1"/>
                      <c:pt idx="0">
                        <c:v>GRAD Session 4</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cat>
                  <c:strRef>
                    <c:extLst xmlns:c15="http://schemas.microsoft.com/office/drawing/2012/chart">
                      <c:ext xmlns:c15="http://schemas.microsoft.com/office/drawing/2012/chart" uri="{02D57815-91ED-43cb-92C2-25804820EDAC}">
                        <c15:formulaRef>
                          <c15:sqref>'Runchart-Collective'!$A$95:$A$106</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Runchart-Collective'!$C$91:$C$101</c15:sqref>
                        </c15:formulaRef>
                      </c:ext>
                    </c:extLst>
                    <c:numCache>
                      <c:formatCode>0.00%</c:formatCode>
                      <c:ptCount val="11"/>
                      <c:pt idx="1">
                        <c:v>0.09</c:v>
                      </c:pt>
                      <c:pt idx="2">
                        <c:v>0.19</c:v>
                      </c:pt>
                      <c:pt idx="3">
                        <c:v>0.22499999999999998</c:v>
                      </c:pt>
                      <c:pt idx="4">
                        <c:v>0.27</c:v>
                      </c:pt>
                      <c:pt idx="5">
                        <c:v>0.34250000000000003</c:v>
                      </c:pt>
                      <c:pt idx="6">
                        <c:v>0.28500000000000003</c:v>
                      </c:pt>
                      <c:pt idx="7">
                        <c:v>0.36799999999999999</c:v>
                      </c:pt>
                      <c:pt idx="8">
                        <c:v>0.36749999999999994</c:v>
                      </c:pt>
                      <c:pt idx="9">
                        <c:v>0.26250000000000001</c:v>
                      </c:pt>
                      <c:pt idx="10">
                        <c:v>0.27200000000000002</c:v>
                      </c:pt>
                    </c:numCache>
                  </c:numRef>
                </c:val>
                <c:smooth val="0"/>
                <c:extLst xmlns:c15="http://schemas.microsoft.com/office/drawing/2012/chart">
                  <c:ext xmlns:c16="http://schemas.microsoft.com/office/drawing/2014/chart" uri="{C3380CC4-5D6E-409C-BE32-E72D297353CC}">
                    <c16:uniqueId val="{00000002-2D71-4F55-B4D2-E599D8D093CB}"/>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Runchart-Collective'!$E$1</c15:sqref>
                        </c15:formulaRef>
                      </c:ext>
                    </c:extLst>
                    <c:strCache>
                      <c:ptCount val="1"/>
                      <c:pt idx="0">
                        <c:v>Provider Notes</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cat>
                  <c:strRef>
                    <c:extLst xmlns:c15="http://schemas.microsoft.com/office/drawing/2012/chart">
                      <c:ext xmlns:c15="http://schemas.microsoft.com/office/drawing/2012/chart" uri="{02D57815-91ED-43cb-92C2-25804820EDAC}">
                        <c15:formulaRef>
                          <c15:sqref>'Runchart-Collective'!$A$95:$A$106</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Runchart-Collective'!$E$91:$E$100</c15:sqref>
                        </c15:formulaRef>
                      </c:ext>
                    </c:extLst>
                    <c:numCache>
                      <c:formatCode>0.00%</c:formatCode>
                      <c:ptCount val="10"/>
                      <c:pt idx="1">
                        <c:v>0.12</c:v>
                      </c:pt>
                      <c:pt idx="2">
                        <c:v>0.19500000000000001</c:v>
                      </c:pt>
                      <c:pt idx="3">
                        <c:v>0.38249999999999995</c:v>
                      </c:pt>
                      <c:pt idx="4">
                        <c:v>0.3</c:v>
                      </c:pt>
                      <c:pt idx="5">
                        <c:v>0.23499999999999999</c:v>
                      </c:pt>
                      <c:pt idx="6">
                        <c:v>0.38249999999999995</c:v>
                      </c:pt>
                      <c:pt idx="7">
                        <c:v>0.27600000000000002</c:v>
                      </c:pt>
                      <c:pt idx="8">
                        <c:v>0.28000000000000003</c:v>
                      </c:pt>
                    </c:numCache>
                  </c:numRef>
                </c:val>
                <c:smooth val="0"/>
                <c:extLst xmlns:c15="http://schemas.microsoft.com/office/drawing/2012/chart">
                  <c:ext xmlns:c16="http://schemas.microsoft.com/office/drawing/2014/chart" uri="{C3380CC4-5D6E-409C-BE32-E72D297353CC}">
                    <c16:uniqueId val="{00000003-2D71-4F55-B4D2-E599D8D093CB}"/>
                  </c:ext>
                </c:extLst>
              </c15:ser>
            </c15:filteredLineSeries>
          </c:ext>
        </c:extLst>
      </c:lineChart>
      <c:dateAx>
        <c:axId val="185213264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52125440"/>
        <c:crosses val="autoZero"/>
        <c:auto val="0"/>
        <c:lblOffset val="100"/>
        <c:baseTimeUnit val="days"/>
      </c:dateAx>
      <c:valAx>
        <c:axId val="1852125440"/>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521326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5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E$5</c:f>
              <c:strCache>
                <c:ptCount val="1"/>
                <c:pt idx="0">
                  <c:v>Patient Requested</c:v>
                </c:pt>
              </c:strCache>
            </c:strRef>
          </c:tx>
          <c:spPr>
            <a:solidFill>
              <a:schemeClr val="accent1"/>
            </a:solidFill>
            <a:ln>
              <a:noFill/>
            </a:ln>
            <a:effectLst/>
          </c:spPr>
          <c:invertIfNegative val="0"/>
          <c:cat>
            <c:strRef>
              <c:f>Sheet1!$D$6:$D$17</c:f>
              <c:strCache>
                <c:ptCount val="12"/>
                <c:pt idx="0">
                  <c:v>Regular Diabetes Management</c:v>
                </c:pt>
                <c:pt idx="1">
                  <c:v>Diabetes Goals</c:v>
                </c:pt>
                <c:pt idx="2">
                  <c:v>Pump skills</c:v>
                </c:pt>
                <c:pt idx="3">
                  <c:v>Diabetes Supplies</c:v>
                </c:pt>
                <c:pt idx="4">
                  <c:v>Communicating with Medical Team</c:v>
                </c:pt>
                <c:pt idx="5">
                  <c:v>Hypoglycemia</c:v>
                </c:pt>
                <c:pt idx="6">
                  <c:v>Complications</c:v>
                </c:pt>
                <c:pt idx="7">
                  <c:v>Ketone Management</c:v>
                </c:pt>
                <c:pt idx="8">
                  <c:v>Insurance</c:v>
                </c:pt>
                <c:pt idx="9">
                  <c:v>Alcohol</c:v>
                </c:pt>
                <c:pt idx="10">
                  <c:v>Sex/Pregnancy</c:v>
                </c:pt>
                <c:pt idx="11">
                  <c:v>Tobacco</c:v>
                </c:pt>
              </c:strCache>
            </c:strRef>
          </c:cat>
          <c:val>
            <c:numRef>
              <c:f>Sheet1!$E$6:$E$17</c:f>
              <c:numCache>
                <c:formatCode>0.0%</c:formatCode>
                <c:ptCount val="12"/>
                <c:pt idx="0">
                  <c:v>0.39620081411126185</c:v>
                </c:pt>
                <c:pt idx="1">
                  <c:v>0.55289788408463658</c:v>
                </c:pt>
                <c:pt idx="2">
                  <c:v>0.40568475452196384</c:v>
                </c:pt>
                <c:pt idx="3">
                  <c:v>0.20018796992481203</c:v>
                </c:pt>
                <c:pt idx="4">
                  <c:v>0.43419267299864317</c:v>
                </c:pt>
                <c:pt idx="5">
                  <c:v>0.22263109475620976</c:v>
                </c:pt>
                <c:pt idx="6">
                  <c:v>0.30597014925373134</c:v>
                </c:pt>
                <c:pt idx="7">
                  <c:v>0.18792401628222524</c:v>
                </c:pt>
                <c:pt idx="8">
                  <c:v>0.48062015503875971</c:v>
                </c:pt>
                <c:pt idx="9">
                  <c:v>0.37984496124031009</c:v>
                </c:pt>
                <c:pt idx="10">
                  <c:v>0.63307493540051685</c:v>
                </c:pt>
                <c:pt idx="11">
                  <c:v>0.53488372093023251</c:v>
                </c:pt>
              </c:numCache>
            </c:numRef>
          </c:val>
          <c:extLst>
            <c:ext xmlns:c16="http://schemas.microsoft.com/office/drawing/2014/chart" uri="{C3380CC4-5D6E-409C-BE32-E72D297353CC}">
              <c16:uniqueId val="{00000000-6465-CD4C-A56C-85B8C1B0561A}"/>
            </c:ext>
          </c:extLst>
        </c:ser>
        <c:ser>
          <c:idx val="1"/>
          <c:order val="1"/>
          <c:tx>
            <c:strRef>
              <c:f>Sheet1!$F$5</c:f>
              <c:strCache>
                <c:ptCount val="1"/>
                <c:pt idx="0">
                  <c:v>Provider Discussed</c:v>
                </c:pt>
              </c:strCache>
            </c:strRef>
          </c:tx>
          <c:spPr>
            <a:solidFill>
              <a:schemeClr val="accent2"/>
            </a:solidFill>
            <a:ln>
              <a:noFill/>
            </a:ln>
            <a:effectLst/>
          </c:spPr>
          <c:invertIfNegative val="0"/>
          <c:cat>
            <c:strRef>
              <c:f>Sheet1!$D$6:$D$17</c:f>
              <c:strCache>
                <c:ptCount val="12"/>
                <c:pt idx="0">
                  <c:v>Regular Diabetes Management</c:v>
                </c:pt>
                <c:pt idx="1">
                  <c:v>Diabetes Goals</c:v>
                </c:pt>
                <c:pt idx="2">
                  <c:v>Pump skills</c:v>
                </c:pt>
                <c:pt idx="3">
                  <c:v>Diabetes Supplies</c:v>
                </c:pt>
                <c:pt idx="4">
                  <c:v>Communicating with Medical Team</c:v>
                </c:pt>
                <c:pt idx="5">
                  <c:v>Hypoglycemia</c:v>
                </c:pt>
                <c:pt idx="6">
                  <c:v>Complications</c:v>
                </c:pt>
                <c:pt idx="7">
                  <c:v>Ketone Management</c:v>
                </c:pt>
                <c:pt idx="8">
                  <c:v>Insurance</c:v>
                </c:pt>
                <c:pt idx="9">
                  <c:v>Alcohol</c:v>
                </c:pt>
                <c:pt idx="10">
                  <c:v>Sex/Pregnancy</c:v>
                </c:pt>
                <c:pt idx="11">
                  <c:v>Tobacco</c:v>
                </c:pt>
              </c:strCache>
            </c:strRef>
          </c:cat>
          <c:val>
            <c:numRef>
              <c:f>Sheet1!$F$6:$F$17</c:f>
              <c:numCache>
                <c:formatCode>0.0%</c:formatCode>
                <c:ptCount val="12"/>
                <c:pt idx="0">
                  <c:v>0.78665413533834583</c:v>
                </c:pt>
                <c:pt idx="1">
                  <c:v>0.6785714285714286</c:v>
                </c:pt>
                <c:pt idx="2">
                  <c:v>0.46522556390977443</c:v>
                </c:pt>
                <c:pt idx="3">
                  <c:v>0.33834586466165412</c:v>
                </c:pt>
                <c:pt idx="4">
                  <c:v>0.29699248120300753</c:v>
                </c:pt>
                <c:pt idx="5">
                  <c:v>0.19454887218045114</c:v>
                </c:pt>
                <c:pt idx="6">
                  <c:v>0.14473684210526316</c:v>
                </c:pt>
                <c:pt idx="7">
                  <c:v>0.1362781954887218</c:v>
                </c:pt>
                <c:pt idx="8">
                  <c:v>0.1118421052631579</c:v>
                </c:pt>
                <c:pt idx="9">
                  <c:v>7.0488721804511281E-2</c:v>
                </c:pt>
                <c:pt idx="10">
                  <c:v>4.7932330827067667E-2</c:v>
                </c:pt>
                <c:pt idx="11">
                  <c:v>1.5977443609022556E-2</c:v>
                </c:pt>
              </c:numCache>
            </c:numRef>
          </c:val>
          <c:extLst>
            <c:ext xmlns:c16="http://schemas.microsoft.com/office/drawing/2014/chart" uri="{C3380CC4-5D6E-409C-BE32-E72D297353CC}">
              <c16:uniqueId val="{00000001-6465-CD4C-A56C-85B8C1B0561A}"/>
            </c:ext>
          </c:extLst>
        </c:ser>
        <c:dLbls>
          <c:showLegendKey val="0"/>
          <c:showVal val="0"/>
          <c:showCatName val="0"/>
          <c:showSerName val="0"/>
          <c:showPercent val="0"/>
          <c:showBubbleSize val="0"/>
        </c:dLbls>
        <c:gapWidth val="219"/>
        <c:overlap val="-27"/>
        <c:axId val="1474143232"/>
        <c:axId val="1474142400"/>
      </c:barChart>
      <c:catAx>
        <c:axId val="1474143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4142400"/>
        <c:crosses val="autoZero"/>
        <c:auto val="1"/>
        <c:lblAlgn val="ctr"/>
        <c:lblOffset val="100"/>
        <c:noMultiLvlLbl val="0"/>
      </c:catAx>
      <c:valAx>
        <c:axId val="14741424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 of Visits</a:t>
                </a:r>
                <a:r>
                  <a:rPr lang="en-US" baseline="0"/>
                  <a:t> Topic Requested or Discussed</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41432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8A0_EA1932F.xml><?xml version="1.0" encoding="utf-8"?>
<p188:cmLst xmlns:a="http://schemas.openxmlformats.org/drawingml/2006/main" xmlns:r="http://schemas.openxmlformats.org/officeDocument/2006/relationships" xmlns:p188="http://schemas.microsoft.com/office/powerpoint/2018/8/main">
  <p188:cm id="{65EEC897-C574-429F-81DA-667E1EBFE98F}" authorId="{63EFC532-EB96-9382-EA56-7D6E42C37A9E}" created="2025-10-15T17:20:19.945">
    <ac:deMkLst xmlns:ac="http://schemas.microsoft.com/office/drawing/2013/main/command">
      <pc:docMk xmlns:pc="http://schemas.microsoft.com/office/powerpoint/2013/main/command"/>
      <pc:sldMk xmlns:pc="http://schemas.microsoft.com/office/powerpoint/2013/main/command" cId="245469999" sldId="2208"/>
      <ac:spMk id="33793" creationId="{00000000-0000-0000-0000-000000000000}"/>
    </ac:deMkLst>
    <p188:txBody>
      <a:bodyPr/>
      <a:lstStyle/>
      <a:p>
        <a:r>
          <a:rPr lang="en-US"/>
          <a:t>I’m finding this slide confusing. Could we make a visual representation of this process? </a:t>
        </a:r>
      </a:p>
    </p188:txBody>
  </p188:cm>
</p188:cmLst>
</file>

<file path=ppt/diagrams/_rels/data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svg"/><Relationship Id="rId1" Type="http://schemas.openxmlformats.org/officeDocument/2006/relationships/image" Target="../media/image29.png"/><Relationship Id="rId4" Type="http://schemas.openxmlformats.org/officeDocument/2006/relationships/image" Target="../media/image3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svg"/><Relationship Id="rId1" Type="http://schemas.openxmlformats.org/officeDocument/2006/relationships/image" Target="../media/image29.png"/><Relationship Id="rId4" Type="http://schemas.openxmlformats.org/officeDocument/2006/relationships/image" Target="../media/image3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A468A8-DFB3-45CC-AC0B-2658FEEFEA19}"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F4425593-4B87-4ED1-851B-DF9C63A08D40}">
      <dgm:prSet/>
      <dgm:spPr/>
      <dgm:t>
        <a:bodyPr/>
        <a:lstStyle/>
        <a:p>
          <a:r>
            <a:rPr lang="en-US"/>
            <a:t>Nothing to disclose</a:t>
          </a:r>
        </a:p>
      </dgm:t>
    </dgm:pt>
    <dgm:pt modelId="{0763A218-3D66-4AFF-8104-033AC1377DAE}" type="parTrans" cxnId="{313A5E78-2D99-4BD3-A217-47B9B2492116}">
      <dgm:prSet/>
      <dgm:spPr/>
      <dgm:t>
        <a:bodyPr/>
        <a:lstStyle/>
        <a:p>
          <a:endParaRPr lang="en-US"/>
        </a:p>
      </dgm:t>
    </dgm:pt>
    <dgm:pt modelId="{80A8942C-2E8F-4E17-B725-BC75720A25B6}" type="sibTrans" cxnId="{313A5E78-2D99-4BD3-A217-47B9B2492116}">
      <dgm:prSet/>
      <dgm:spPr/>
      <dgm:t>
        <a:bodyPr/>
        <a:lstStyle/>
        <a:p>
          <a:endParaRPr lang="en-US"/>
        </a:p>
      </dgm:t>
    </dgm:pt>
    <dgm:pt modelId="{BCEAAEF3-46D9-48C5-BE35-B73433B633A0}">
      <dgm:prSet/>
      <dgm:spPr/>
      <dgm:t>
        <a:bodyPr/>
        <a:lstStyle/>
        <a:p>
          <a:r>
            <a:rPr lang="en-US"/>
            <a:t>Photography is allowed</a:t>
          </a:r>
        </a:p>
      </dgm:t>
    </dgm:pt>
    <dgm:pt modelId="{D0A4D24F-9026-4C3D-905B-AD90E20CF6ED}" type="parTrans" cxnId="{998877C6-D9A4-4985-8652-232615493211}">
      <dgm:prSet/>
      <dgm:spPr/>
      <dgm:t>
        <a:bodyPr/>
        <a:lstStyle/>
        <a:p>
          <a:endParaRPr lang="en-US"/>
        </a:p>
      </dgm:t>
    </dgm:pt>
    <dgm:pt modelId="{AB8FBD4A-3F09-4312-8263-1038A674364D}" type="sibTrans" cxnId="{998877C6-D9A4-4985-8652-232615493211}">
      <dgm:prSet/>
      <dgm:spPr/>
      <dgm:t>
        <a:bodyPr/>
        <a:lstStyle/>
        <a:p>
          <a:endParaRPr lang="en-US"/>
        </a:p>
      </dgm:t>
    </dgm:pt>
    <dgm:pt modelId="{2CE797DF-A7B4-4E89-A3B8-DFBEC3938F88}" type="pres">
      <dgm:prSet presAssocID="{6FA468A8-DFB3-45CC-AC0B-2658FEEFEA19}" presName="root" presStyleCnt="0">
        <dgm:presLayoutVars>
          <dgm:dir/>
          <dgm:resizeHandles val="exact"/>
        </dgm:presLayoutVars>
      </dgm:prSet>
      <dgm:spPr/>
    </dgm:pt>
    <dgm:pt modelId="{2A311623-7F03-4376-BF61-90915AF247D1}" type="pres">
      <dgm:prSet presAssocID="{F4425593-4B87-4ED1-851B-DF9C63A08D40}" presName="compNode" presStyleCnt="0"/>
      <dgm:spPr/>
    </dgm:pt>
    <dgm:pt modelId="{CF75510D-35B8-40C7-8555-4068C547FF59}" type="pres">
      <dgm:prSet presAssocID="{F4425593-4B87-4ED1-851B-DF9C63A08D40}"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No sign"/>
        </a:ext>
      </dgm:extLst>
    </dgm:pt>
    <dgm:pt modelId="{CBB8461B-670E-468F-807E-E1B23E548539}" type="pres">
      <dgm:prSet presAssocID="{F4425593-4B87-4ED1-851B-DF9C63A08D40}" presName="spaceRect" presStyleCnt="0"/>
      <dgm:spPr/>
    </dgm:pt>
    <dgm:pt modelId="{6B34BAA9-840F-484B-B255-56F20248E422}" type="pres">
      <dgm:prSet presAssocID="{F4425593-4B87-4ED1-851B-DF9C63A08D40}" presName="textRect" presStyleLbl="revTx" presStyleIdx="0" presStyleCnt="2">
        <dgm:presLayoutVars>
          <dgm:chMax val="1"/>
          <dgm:chPref val="1"/>
        </dgm:presLayoutVars>
      </dgm:prSet>
      <dgm:spPr/>
    </dgm:pt>
    <dgm:pt modelId="{4C13DB18-E5DE-4CEE-A0B0-11B9AAD4A86E}" type="pres">
      <dgm:prSet presAssocID="{80A8942C-2E8F-4E17-B725-BC75720A25B6}" presName="sibTrans" presStyleCnt="0"/>
      <dgm:spPr/>
    </dgm:pt>
    <dgm:pt modelId="{4D0745B8-A10D-4D22-A83D-F3CA0A21083E}" type="pres">
      <dgm:prSet presAssocID="{BCEAAEF3-46D9-48C5-BE35-B73433B633A0}" presName="compNode" presStyleCnt="0"/>
      <dgm:spPr/>
    </dgm:pt>
    <dgm:pt modelId="{CA2B8FCE-A2C6-46BE-9A9D-A6F92FE29D17}" type="pres">
      <dgm:prSet presAssocID="{BCEAAEF3-46D9-48C5-BE35-B73433B633A0}"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amera"/>
        </a:ext>
      </dgm:extLst>
    </dgm:pt>
    <dgm:pt modelId="{A787FD81-D0B1-4993-B4D1-8FE06C15AE3C}" type="pres">
      <dgm:prSet presAssocID="{BCEAAEF3-46D9-48C5-BE35-B73433B633A0}" presName="spaceRect" presStyleCnt="0"/>
      <dgm:spPr/>
    </dgm:pt>
    <dgm:pt modelId="{7CFF04B6-3323-40E9-9DAA-928C45AC8F8B}" type="pres">
      <dgm:prSet presAssocID="{BCEAAEF3-46D9-48C5-BE35-B73433B633A0}" presName="textRect" presStyleLbl="revTx" presStyleIdx="1" presStyleCnt="2">
        <dgm:presLayoutVars>
          <dgm:chMax val="1"/>
          <dgm:chPref val="1"/>
        </dgm:presLayoutVars>
      </dgm:prSet>
      <dgm:spPr/>
    </dgm:pt>
  </dgm:ptLst>
  <dgm:cxnLst>
    <dgm:cxn modelId="{91A29606-CFF8-4884-87D2-1C21C8012773}" type="presOf" srcId="{6FA468A8-DFB3-45CC-AC0B-2658FEEFEA19}" destId="{2CE797DF-A7B4-4E89-A3B8-DFBEC3938F88}" srcOrd="0" destOrd="0" presId="urn:microsoft.com/office/officeart/2018/2/layout/IconLabelList"/>
    <dgm:cxn modelId="{BB3E646B-80B2-4AFD-9FFE-B81CAE747261}" type="presOf" srcId="{BCEAAEF3-46D9-48C5-BE35-B73433B633A0}" destId="{7CFF04B6-3323-40E9-9DAA-928C45AC8F8B}" srcOrd="0" destOrd="0" presId="urn:microsoft.com/office/officeart/2018/2/layout/IconLabelList"/>
    <dgm:cxn modelId="{313A5E78-2D99-4BD3-A217-47B9B2492116}" srcId="{6FA468A8-DFB3-45CC-AC0B-2658FEEFEA19}" destId="{F4425593-4B87-4ED1-851B-DF9C63A08D40}" srcOrd="0" destOrd="0" parTransId="{0763A218-3D66-4AFF-8104-033AC1377DAE}" sibTransId="{80A8942C-2E8F-4E17-B725-BC75720A25B6}"/>
    <dgm:cxn modelId="{21AE6DB9-D0BF-4579-8462-99BF5E696D14}" type="presOf" srcId="{F4425593-4B87-4ED1-851B-DF9C63A08D40}" destId="{6B34BAA9-840F-484B-B255-56F20248E422}" srcOrd="0" destOrd="0" presId="urn:microsoft.com/office/officeart/2018/2/layout/IconLabelList"/>
    <dgm:cxn modelId="{998877C6-D9A4-4985-8652-232615493211}" srcId="{6FA468A8-DFB3-45CC-AC0B-2658FEEFEA19}" destId="{BCEAAEF3-46D9-48C5-BE35-B73433B633A0}" srcOrd="1" destOrd="0" parTransId="{D0A4D24F-9026-4C3D-905B-AD90E20CF6ED}" sibTransId="{AB8FBD4A-3F09-4312-8263-1038A674364D}"/>
    <dgm:cxn modelId="{67AD8DB0-45FC-4513-9E95-713C09E42FF8}" type="presParOf" srcId="{2CE797DF-A7B4-4E89-A3B8-DFBEC3938F88}" destId="{2A311623-7F03-4376-BF61-90915AF247D1}" srcOrd="0" destOrd="0" presId="urn:microsoft.com/office/officeart/2018/2/layout/IconLabelList"/>
    <dgm:cxn modelId="{6BEDB323-2134-44A5-BEDC-11EA6BB19778}" type="presParOf" srcId="{2A311623-7F03-4376-BF61-90915AF247D1}" destId="{CF75510D-35B8-40C7-8555-4068C547FF59}" srcOrd="0" destOrd="0" presId="urn:microsoft.com/office/officeart/2018/2/layout/IconLabelList"/>
    <dgm:cxn modelId="{C689C192-043E-4221-B269-7DE0E1F3BAD0}" type="presParOf" srcId="{2A311623-7F03-4376-BF61-90915AF247D1}" destId="{CBB8461B-670E-468F-807E-E1B23E548539}" srcOrd="1" destOrd="0" presId="urn:microsoft.com/office/officeart/2018/2/layout/IconLabelList"/>
    <dgm:cxn modelId="{DB3585BF-52AB-4964-9C53-A7BFCD13344E}" type="presParOf" srcId="{2A311623-7F03-4376-BF61-90915AF247D1}" destId="{6B34BAA9-840F-484B-B255-56F20248E422}" srcOrd="2" destOrd="0" presId="urn:microsoft.com/office/officeart/2018/2/layout/IconLabelList"/>
    <dgm:cxn modelId="{0C92FB1A-7E03-4855-B61D-7C8CB827AC61}" type="presParOf" srcId="{2CE797DF-A7B4-4E89-A3B8-DFBEC3938F88}" destId="{4C13DB18-E5DE-4CEE-A0B0-11B9AAD4A86E}" srcOrd="1" destOrd="0" presId="urn:microsoft.com/office/officeart/2018/2/layout/IconLabelList"/>
    <dgm:cxn modelId="{5A0F9B4F-A13D-4549-82A8-C707A720F2EF}" type="presParOf" srcId="{2CE797DF-A7B4-4E89-A3B8-DFBEC3938F88}" destId="{4D0745B8-A10D-4D22-A83D-F3CA0A21083E}" srcOrd="2" destOrd="0" presId="urn:microsoft.com/office/officeart/2018/2/layout/IconLabelList"/>
    <dgm:cxn modelId="{21F5CE63-3AC9-49AE-B1C5-6844F77E9723}" type="presParOf" srcId="{4D0745B8-A10D-4D22-A83D-F3CA0A21083E}" destId="{CA2B8FCE-A2C6-46BE-9A9D-A6F92FE29D17}" srcOrd="0" destOrd="0" presId="urn:microsoft.com/office/officeart/2018/2/layout/IconLabelList"/>
    <dgm:cxn modelId="{EA620387-ED1A-4B0B-A98C-C5E584FC31A9}" type="presParOf" srcId="{4D0745B8-A10D-4D22-A83D-F3CA0A21083E}" destId="{A787FD81-D0B1-4993-B4D1-8FE06C15AE3C}" srcOrd="1" destOrd="0" presId="urn:microsoft.com/office/officeart/2018/2/layout/IconLabelList"/>
    <dgm:cxn modelId="{8AC3110B-D402-43FE-90E2-BD17F6ACEB0D}" type="presParOf" srcId="{4D0745B8-A10D-4D22-A83D-F3CA0A21083E}" destId="{7CFF04B6-3323-40E9-9DAA-928C45AC8F8B}" srcOrd="2" destOrd="0" presId="urn:microsoft.com/office/officeart/2018/2/layout/IconLabel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CA2456B-F185-4389-AE70-A0BAE1F50B3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D57BE70-C4F2-41C7-A745-BEF99F46FFF3}">
      <dgm:prSet phldrT="[Text]" phldr="0" custT="0"/>
      <dgm:spPr/>
      <dgm:t>
        <a:bodyPr/>
        <a:lstStyle/>
        <a:p>
          <a:pPr rtl="0"/>
          <a:r>
            <a:rPr lang="en-US" dirty="0">
              <a:latin typeface="Calibri"/>
              <a:ea typeface="Calibri"/>
              <a:cs typeface="Calibri"/>
            </a:rPr>
            <a:t>P</a:t>
          </a:r>
          <a:r>
            <a:rPr lang="en-US" sz="1800" b="0" dirty="0">
              <a:latin typeface="Calibri"/>
              <a:ea typeface="Calibri"/>
              <a:cs typeface="Calibri"/>
            </a:rPr>
            <a:t>atients</a:t>
          </a:r>
        </a:p>
      </dgm:t>
    </dgm:pt>
    <dgm:pt modelId="{A025BCDF-9841-40C7-BA94-9DF7B17DBE1A}" type="parTrans" cxnId="{31AA17F2-D301-4DEA-AAD1-BD0D572A8A55}">
      <dgm:prSet/>
      <dgm:spPr/>
      <dgm:t>
        <a:bodyPr/>
        <a:lstStyle/>
        <a:p>
          <a:endParaRPr lang="en-US"/>
        </a:p>
      </dgm:t>
    </dgm:pt>
    <dgm:pt modelId="{F8571997-4AE4-4200-9743-3D56B20A330D}" type="sibTrans" cxnId="{31AA17F2-D301-4DEA-AAD1-BD0D572A8A55}">
      <dgm:prSet/>
      <dgm:spPr/>
      <dgm:t>
        <a:bodyPr/>
        <a:lstStyle/>
        <a:p>
          <a:endParaRPr lang="en-US"/>
        </a:p>
      </dgm:t>
    </dgm:pt>
    <dgm:pt modelId="{A52BAF1E-DA0F-420F-9E0B-5B7DE1E5E50A}">
      <dgm:prSet phldrT="[Text]" phldr="0" custT="1"/>
      <dgm:spPr/>
      <dgm:t>
        <a:bodyPr/>
        <a:lstStyle/>
        <a:p>
          <a:pPr rtl="0"/>
          <a:r>
            <a:rPr lang="en-US" sz="1400" b="0" dirty="0">
              <a:latin typeface="Calibri"/>
              <a:ea typeface="Calibri"/>
              <a:cs typeface="Calibri"/>
            </a:rPr>
            <a:t>Type 1</a:t>
          </a:r>
        </a:p>
      </dgm:t>
    </dgm:pt>
    <dgm:pt modelId="{334F93F3-E2E5-4BB4-8A4F-A47D335F5AC3}" type="parTrans" cxnId="{0F4A8AD0-6CC6-4331-BA15-D3462E8068BA}">
      <dgm:prSet/>
      <dgm:spPr/>
      <dgm:t>
        <a:bodyPr/>
        <a:lstStyle/>
        <a:p>
          <a:endParaRPr lang="en-US"/>
        </a:p>
      </dgm:t>
    </dgm:pt>
    <dgm:pt modelId="{7A8F09E6-4766-486C-AC2F-28D9BBDB0DD7}" type="sibTrans" cxnId="{0F4A8AD0-6CC6-4331-BA15-D3462E8068BA}">
      <dgm:prSet/>
      <dgm:spPr/>
      <dgm:t>
        <a:bodyPr/>
        <a:lstStyle/>
        <a:p>
          <a:endParaRPr lang="en-US"/>
        </a:p>
      </dgm:t>
    </dgm:pt>
    <dgm:pt modelId="{3ABBBC00-82FC-4440-91B7-1AF3753520D9}">
      <dgm:prSet phldrT="[Text]" phldr="0"/>
      <dgm:spPr/>
      <dgm:t>
        <a:bodyPr/>
        <a:lstStyle/>
        <a:p>
          <a:r>
            <a:rPr lang="en-US" sz="1800" b="0" dirty="0">
              <a:latin typeface="Calibri"/>
              <a:ea typeface="Calibri"/>
              <a:cs typeface="Calibri"/>
            </a:rPr>
            <a:t>Providers</a:t>
          </a:r>
        </a:p>
      </dgm:t>
    </dgm:pt>
    <dgm:pt modelId="{E338F41A-860C-40EF-A18A-C5BA01846021}" type="parTrans" cxnId="{1C603DF0-63F9-4DBD-BA74-71C3C369F8E7}">
      <dgm:prSet/>
      <dgm:spPr/>
      <dgm:t>
        <a:bodyPr/>
        <a:lstStyle/>
        <a:p>
          <a:endParaRPr lang="en-US"/>
        </a:p>
      </dgm:t>
    </dgm:pt>
    <dgm:pt modelId="{5D92AFB9-7CC1-485A-91D0-E049D4D661C3}" type="sibTrans" cxnId="{1C603DF0-63F9-4DBD-BA74-71C3C369F8E7}">
      <dgm:prSet/>
      <dgm:spPr/>
      <dgm:t>
        <a:bodyPr/>
        <a:lstStyle/>
        <a:p>
          <a:endParaRPr lang="en-US"/>
        </a:p>
      </dgm:t>
    </dgm:pt>
    <dgm:pt modelId="{96749524-DFD4-45C0-8375-EB004BED7E33}">
      <dgm:prSet phldr="0"/>
      <dgm:spPr/>
      <dgm:t>
        <a:bodyPr/>
        <a:lstStyle/>
        <a:p>
          <a:pPr rtl="0"/>
          <a:r>
            <a:rPr lang="en-US" sz="1800" b="0" dirty="0">
              <a:latin typeface="Calibri"/>
              <a:ea typeface="Calibri"/>
              <a:cs typeface="Calibri"/>
            </a:rPr>
            <a:t>35 Pediatric Endocrinologists</a:t>
          </a:r>
        </a:p>
      </dgm:t>
    </dgm:pt>
    <dgm:pt modelId="{B7054FF1-9B32-4712-8AA3-529755655B40}" type="parTrans" cxnId="{39BC1A47-7DD4-490D-B51F-B79AEB9162F6}">
      <dgm:prSet/>
      <dgm:spPr/>
      <dgm:t>
        <a:bodyPr/>
        <a:lstStyle/>
        <a:p>
          <a:endParaRPr lang="en-US"/>
        </a:p>
      </dgm:t>
    </dgm:pt>
    <dgm:pt modelId="{89B65EC6-C12D-4F02-8AB2-5580AC5C4DC5}" type="sibTrans" cxnId="{39BC1A47-7DD4-490D-B51F-B79AEB9162F6}">
      <dgm:prSet/>
      <dgm:spPr/>
      <dgm:t>
        <a:bodyPr/>
        <a:lstStyle/>
        <a:p>
          <a:endParaRPr lang="en-US"/>
        </a:p>
      </dgm:t>
    </dgm:pt>
    <dgm:pt modelId="{E16D1578-DDCD-452B-A1AB-C8BB76113199}">
      <dgm:prSet phldr="0"/>
      <dgm:spPr/>
      <dgm:t>
        <a:bodyPr/>
        <a:lstStyle/>
        <a:p>
          <a:pPr rtl="0"/>
          <a:r>
            <a:rPr lang="en-US" sz="1800" b="0" dirty="0">
              <a:latin typeface="Calibri"/>
              <a:ea typeface="Calibri"/>
              <a:cs typeface="Calibri"/>
            </a:rPr>
            <a:t>9 APPs</a:t>
          </a:r>
        </a:p>
      </dgm:t>
    </dgm:pt>
    <dgm:pt modelId="{79DAC99C-4A0F-40BB-812F-BF1D5B0D50C0}" type="parTrans" cxnId="{B9D30F01-2F02-4F9D-A3B7-D06BC5459C48}">
      <dgm:prSet/>
      <dgm:spPr/>
      <dgm:t>
        <a:bodyPr/>
        <a:lstStyle/>
        <a:p>
          <a:endParaRPr lang="en-US"/>
        </a:p>
      </dgm:t>
    </dgm:pt>
    <dgm:pt modelId="{33420478-10BD-43F6-8077-6DF307AF069F}" type="sibTrans" cxnId="{B9D30F01-2F02-4F9D-A3B7-D06BC5459C48}">
      <dgm:prSet/>
      <dgm:spPr/>
      <dgm:t>
        <a:bodyPr/>
        <a:lstStyle/>
        <a:p>
          <a:endParaRPr lang="en-US"/>
        </a:p>
      </dgm:t>
    </dgm:pt>
    <dgm:pt modelId="{E397BAC8-3B0F-41CF-9E16-BA09A3BCAF48}">
      <dgm:prSet phldr="0"/>
      <dgm:spPr/>
      <dgm:t>
        <a:bodyPr/>
        <a:lstStyle/>
        <a:p>
          <a:pPr rtl="0"/>
          <a:r>
            <a:rPr lang="en-US" sz="1800" b="0" dirty="0">
              <a:latin typeface="Calibri"/>
              <a:ea typeface="Calibri"/>
              <a:cs typeface="Calibri"/>
            </a:rPr>
            <a:t>Ambulatory staff &amp; leadership</a:t>
          </a:r>
        </a:p>
      </dgm:t>
    </dgm:pt>
    <dgm:pt modelId="{56907864-F949-4269-B388-37ECE2E0F2C4}" type="parTrans" cxnId="{6A4CFECE-4B68-4D1D-A616-884DD6B7B03A}">
      <dgm:prSet/>
      <dgm:spPr/>
      <dgm:t>
        <a:bodyPr/>
        <a:lstStyle/>
        <a:p>
          <a:endParaRPr lang="en-US"/>
        </a:p>
      </dgm:t>
    </dgm:pt>
    <dgm:pt modelId="{BEDC941C-108E-4E37-B7C5-6CACE0E953F6}" type="sibTrans" cxnId="{6A4CFECE-4B68-4D1D-A616-884DD6B7B03A}">
      <dgm:prSet/>
      <dgm:spPr/>
      <dgm:t>
        <a:bodyPr/>
        <a:lstStyle/>
        <a:p>
          <a:endParaRPr lang="en-US"/>
        </a:p>
      </dgm:t>
    </dgm:pt>
    <dgm:pt modelId="{D19FC62B-4C39-4460-BBD6-C7C2965FAD2F}">
      <dgm:prSet phldr="0"/>
      <dgm:spPr/>
      <dgm:t>
        <a:bodyPr/>
        <a:lstStyle/>
        <a:p>
          <a:pPr rtl="0"/>
          <a:r>
            <a:rPr lang="en-US" sz="1800" b="0" dirty="0">
              <a:latin typeface="Calibri"/>
              <a:ea typeface="Calibri"/>
              <a:cs typeface="Calibri"/>
            </a:rPr>
            <a:t>4 CDCES/RD leadership</a:t>
          </a:r>
        </a:p>
      </dgm:t>
    </dgm:pt>
    <dgm:pt modelId="{92595474-FACA-4F98-AAA8-D147CFBB8960}" type="parTrans" cxnId="{ADDD9BD9-F2A8-4E09-B718-2543DB352A34}">
      <dgm:prSet/>
      <dgm:spPr/>
      <dgm:t>
        <a:bodyPr/>
        <a:lstStyle/>
        <a:p>
          <a:endParaRPr lang="en-US"/>
        </a:p>
      </dgm:t>
    </dgm:pt>
    <dgm:pt modelId="{8A0C3567-9D8C-48A5-8309-9B0E49E8CE0B}" type="sibTrans" cxnId="{ADDD9BD9-F2A8-4E09-B718-2543DB352A34}">
      <dgm:prSet/>
      <dgm:spPr/>
      <dgm:t>
        <a:bodyPr/>
        <a:lstStyle/>
        <a:p>
          <a:endParaRPr lang="en-US"/>
        </a:p>
      </dgm:t>
    </dgm:pt>
    <dgm:pt modelId="{4606E60A-4928-44B3-8459-1FB7E9A25332}">
      <dgm:prSet phldr="0"/>
      <dgm:spPr/>
      <dgm:t>
        <a:bodyPr/>
        <a:lstStyle/>
        <a:p>
          <a:pPr rtl="0"/>
          <a:r>
            <a:rPr lang="en-US" sz="1800" b="0" dirty="0">
              <a:latin typeface="Calibri"/>
              <a:ea typeface="Calibri"/>
              <a:cs typeface="Calibri"/>
            </a:rPr>
            <a:t>Practice administrator</a:t>
          </a:r>
        </a:p>
      </dgm:t>
    </dgm:pt>
    <dgm:pt modelId="{BF58D854-BFFC-48FA-98CB-4BEA6415F4FB}" type="parTrans" cxnId="{A65E0DF3-D812-4020-8578-FBD2136A6571}">
      <dgm:prSet/>
      <dgm:spPr/>
      <dgm:t>
        <a:bodyPr/>
        <a:lstStyle/>
        <a:p>
          <a:endParaRPr lang="en-US"/>
        </a:p>
      </dgm:t>
    </dgm:pt>
    <dgm:pt modelId="{ADE2ABC6-43BD-4B2A-940D-149AB439EA0E}" type="sibTrans" cxnId="{A65E0DF3-D812-4020-8578-FBD2136A6571}">
      <dgm:prSet/>
      <dgm:spPr/>
      <dgm:t>
        <a:bodyPr/>
        <a:lstStyle/>
        <a:p>
          <a:endParaRPr lang="en-US"/>
        </a:p>
      </dgm:t>
    </dgm:pt>
    <dgm:pt modelId="{50FC01CA-DC8B-4A32-A582-9AE0E47B1729}">
      <dgm:prSet phldr="0"/>
      <dgm:spPr/>
      <dgm:t>
        <a:bodyPr/>
        <a:lstStyle/>
        <a:p>
          <a:pPr rtl="0"/>
          <a:r>
            <a:rPr lang="en-US" sz="1800" b="0" dirty="0">
              <a:latin typeface="Calibri"/>
              <a:ea typeface="Calibri"/>
              <a:cs typeface="Calibri"/>
            </a:rPr>
            <a:t>CDCES/RD: ~29</a:t>
          </a:r>
        </a:p>
      </dgm:t>
    </dgm:pt>
    <dgm:pt modelId="{B84958A6-0A42-4C1F-A03D-21BB61E4B4BE}" type="parTrans" cxnId="{879F457C-6CA1-46CF-9393-D908E34564E8}">
      <dgm:prSet/>
      <dgm:spPr/>
      <dgm:t>
        <a:bodyPr/>
        <a:lstStyle/>
        <a:p>
          <a:endParaRPr lang="en-US"/>
        </a:p>
      </dgm:t>
    </dgm:pt>
    <dgm:pt modelId="{AC2AE7FA-A382-4E86-83C1-DB7D7FEB9783}" type="sibTrans" cxnId="{879F457C-6CA1-46CF-9393-D908E34564E8}">
      <dgm:prSet/>
      <dgm:spPr/>
      <dgm:t>
        <a:bodyPr/>
        <a:lstStyle/>
        <a:p>
          <a:endParaRPr lang="en-US"/>
        </a:p>
      </dgm:t>
    </dgm:pt>
    <dgm:pt modelId="{0F6BBD52-D895-4DCC-8AE5-1CD552A8F990}">
      <dgm:prSet phldr="0"/>
      <dgm:spPr/>
      <dgm:t>
        <a:bodyPr/>
        <a:lstStyle/>
        <a:p>
          <a:pPr rtl="0"/>
          <a:r>
            <a:rPr lang="en-US" sz="1800" b="0" dirty="0">
              <a:latin typeface="Calibri"/>
              <a:ea typeface="Calibri"/>
              <a:cs typeface="Calibri"/>
            </a:rPr>
            <a:t>Diabetes clinics</a:t>
          </a:r>
        </a:p>
      </dgm:t>
    </dgm:pt>
    <dgm:pt modelId="{7AB9FAA8-E28B-4391-8DB8-D8655428FF99}" type="parTrans" cxnId="{13D80F9D-098C-4650-814C-EB8ABD034112}">
      <dgm:prSet/>
      <dgm:spPr/>
      <dgm:t>
        <a:bodyPr/>
        <a:lstStyle/>
        <a:p>
          <a:endParaRPr lang="en-US"/>
        </a:p>
      </dgm:t>
    </dgm:pt>
    <dgm:pt modelId="{BB277E63-8E5B-4932-9BB7-2C4DDBDB4C5D}" type="sibTrans" cxnId="{13D80F9D-098C-4650-814C-EB8ABD034112}">
      <dgm:prSet/>
      <dgm:spPr/>
      <dgm:t>
        <a:bodyPr/>
        <a:lstStyle/>
        <a:p>
          <a:endParaRPr lang="en-US"/>
        </a:p>
      </dgm:t>
    </dgm:pt>
    <dgm:pt modelId="{B24C0B1A-C7FA-4B75-BF86-39E33EA48C96}">
      <dgm:prSet phldr="0"/>
      <dgm:spPr/>
      <dgm:t>
        <a:bodyPr/>
        <a:lstStyle/>
        <a:p>
          <a:pPr rtl="0"/>
          <a:r>
            <a:rPr lang="en-US" sz="1800" b="0" dirty="0">
              <a:latin typeface="Calibri"/>
              <a:ea typeface="Calibri"/>
              <a:cs typeface="Calibri"/>
            </a:rPr>
            <a:t>4 major hospital campuses</a:t>
          </a:r>
        </a:p>
      </dgm:t>
    </dgm:pt>
    <dgm:pt modelId="{61F6631C-2D23-43D6-B76F-C39551F190E1}" type="parTrans" cxnId="{B4E25035-ADB6-474D-BE64-E0C6F03CE72D}">
      <dgm:prSet/>
      <dgm:spPr/>
      <dgm:t>
        <a:bodyPr/>
        <a:lstStyle/>
        <a:p>
          <a:endParaRPr lang="en-US"/>
        </a:p>
      </dgm:t>
    </dgm:pt>
    <dgm:pt modelId="{E689A758-F17A-43E1-A6A3-230ACEA038B5}" type="sibTrans" cxnId="{B4E25035-ADB6-474D-BE64-E0C6F03CE72D}">
      <dgm:prSet/>
      <dgm:spPr/>
      <dgm:t>
        <a:bodyPr/>
        <a:lstStyle/>
        <a:p>
          <a:endParaRPr lang="en-US"/>
        </a:p>
      </dgm:t>
    </dgm:pt>
    <dgm:pt modelId="{054A185E-3DC8-48BF-8068-E28DA9A566CC}">
      <dgm:prSet phldr="0"/>
      <dgm:spPr/>
      <dgm:t>
        <a:bodyPr/>
        <a:lstStyle/>
        <a:p>
          <a:pPr rtl="0"/>
          <a:r>
            <a:rPr lang="en-US" sz="1800" b="0" dirty="0">
              <a:latin typeface="Calibri"/>
              <a:ea typeface="Calibri"/>
              <a:cs typeface="Calibri"/>
            </a:rPr>
            <a:t>2 Patient navigators</a:t>
          </a:r>
        </a:p>
      </dgm:t>
    </dgm:pt>
    <dgm:pt modelId="{B30DC537-C03B-434D-B853-96F90679A775}" type="parTrans" cxnId="{A06A4E01-AA90-4762-8EC1-307A4D3401EB}">
      <dgm:prSet/>
      <dgm:spPr/>
      <dgm:t>
        <a:bodyPr/>
        <a:lstStyle/>
        <a:p>
          <a:endParaRPr lang="en-US"/>
        </a:p>
      </dgm:t>
    </dgm:pt>
    <dgm:pt modelId="{EE55753F-840A-4754-96C8-F0D4E9FDE4B3}" type="sibTrans" cxnId="{A06A4E01-AA90-4762-8EC1-307A4D3401EB}">
      <dgm:prSet/>
      <dgm:spPr/>
      <dgm:t>
        <a:bodyPr/>
        <a:lstStyle/>
        <a:p>
          <a:endParaRPr lang="en-US"/>
        </a:p>
      </dgm:t>
    </dgm:pt>
    <dgm:pt modelId="{FD51A949-242A-4F70-9ED2-3E59BE3C1830}">
      <dgm:prSet phldr="0"/>
      <dgm:spPr/>
      <dgm:t>
        <a:bodyPr/>
        <a:lstStyle/>
        <a:p>
          <a:pPr rtl="0"/>
          <a:r>
            <a:rPr lang="en-US" sz="1800" b="0" dirty="0">
              <a:latin typeface="Calibri"/>
              <a:ea typeface="Calibri"/>
              <a:cs typeface="Calibri"/>
            </a:rPr>
            <a:t>SW: ~6</a:t>
          </a:r>
        </a:p>
      </dgm:t>
    </dgm:pt>
    <dgm:pt modelId="{14ED90DD-4771-4C6F-B820-D445CD0391E9}" type="parTrans" cxnId="{F898856D-B1B2-4AF7-A77E-558348CA9B4E}">
      <dgm:prSet/>
      <dgm:spPr/>
      <dgm:t>
        <a:bodyPr/>
        <a:lstStyle/>
        <a:p>
          <a:endParaRPr lang="en-US"/>
        </a:p>
      </dgm:t>
    </dgm:pt>
    <dgm:pt modelId="{49F941C8-618D-4451-9B31-DAF800D4B7CC}" type="sibTrans" cxnId="{F898856D-B1B2-4AF7-A77E-558348CA9B4E}">
      <dgm:prSet/>
      <dgm:spPr/>
      <dgm:t>
        <a:bodyPr/>
        <a:lstStyle/>
        <a:p>
          <a:endParaRPr lang="en-US"/>
        </a:p>
      </dgm:t>
    </dgm:pt>
    <dgm:pt modelId="{3A26DE6F-2F3F-4983-B726-CE87667E6106}">
      <dgm:prSet phldr="0"/>
      <dgm:spPr/>
      <dgm:t>
        <a:bodyPr/>
        <a:lstStyle/>
        <a:p>
          <a:pPr rtl="0"/>
          <a:r>
            <a:rPr lang="en-US" sz="1800" b="0" dirty="0">
              <a:latin typeface="Calibri"/>
              <a:ea typeface="Calibri"/>
              <a:cs typeface="Calibri"/>
            </a:rPr>
            <a:t>2 psychologists</a:t>
          </a:r>
        </a:p>
      </dgm:t>
    </dgm:pt>
    <dgm:pt modelId="{E4399CFC-4329-4310-9207-9DB5B8CAF123}" type="parTrans" cxnId="{E6B51DCF-459D-411E-A6B2-843C508B3F99}">
      <dgm:prSet/>
      <dgm:spPr/>
      <dgm:t>
        <a:bodyPr/>
        <a:lstStyle/>
        <a:p>
          <a:endParaRPr lang="en-US"/>
        </a:p>
      </dgm:t>
    </dgm:pt>
    <dgm:pt modelId="{B8B95E4E-318A-4620-BD20-1EA985991EF6}" type="sibTrans" cxnId="{E6B51DCF-459D-411E-A6B2-843C508B3F99}">
      <dgm:prSet/>
      <dgm:spPr/>
      <dgm:t>
        <a:bodyPr/>
        <a:lstStyle/>
        <a:p>
          <a:endParaRPr lang="en-US"/>
        </a:p>
      </dgm:t>
    </dgm:pt>
    <dgm:pt modelId="{42B5AEE1-2D2E-47DB-A820-B4C3AF724C81}">
      <dgm:prSet phldr="0"/>
      <dgm:spPr/>
      <dgm:t>
        <a:bodyPr/>
        <a:lstStyle/>
        <a:p>
          <a:pPr rtl="0"/>
          <a:r>
            <a:rPr lang="en-US" sz="1800" b="0" dirty="0">
              <a:latin typeface="Calibri"/>
              <a:ea typeface="Calibri"/>
              <a:cs typeface="Calibri"/>
            </a:rPr>
            <a:t>MAs &amp; Nurses</a:t>
          </a:r>
        </a:p>
      </dgm:t>
    </dgm:pt>
    <dgm:pt modelId="{E64CCA69-1C8F-43A8-956E-970B915E9756}" type="parTrans" cxnId="{B6A87CF8-3138-4313-B0EE-5DEC763261EE}">
      <dgm:prSet/>
      <dgm:spPr/>
      <dgm:t>
        <a:bodyPr/>
        <a:lstStyle/>
        <a:p>
          <a:endParaRPr lang="en-US"/>
        </a:p>
      </dgm:t>
    </dgm:pt>
    <dgm:pt modelId="{81AA39EA-0E1F-4853-96E4-D831A262CB46}" type="sibTrans" cxnId="{B6A87CF8-3138-4313-B0EE-5DEC763261EE}">
      <dgm:prSet/>
      <dgm:spPr/>
      <dgm:t>
        <a:bodyPr/>
        <a:lstStyle/>
        <a:p>
          <a:endParaRPr lang="en-US"/>
        </a:p>
      </dgm:t>
    </dgm:pt>
    <dgm:pt modelId="{E70605DE-7158-6F4D-BBA8-E200A3831C3E}">
      <dgm:prSet phldr="0"/>
      <dgm:spPr/>
      <dgm:t>
        <a:bodyPr/>
        <a:lstStyle/>
        <a:p>
          <a:pPr rtl="0"/>
          <a:r>
            <a:rPr lang="en-US" sz="1800" b="0" dirty="0">
              <a:latin typeface="Calibri"/>
              <a:ea typeface="Calibri"/>
              <a:cs typeface="Calibri"/>
            </a:rPr>
            <a:t>6 satellite clinics</a:t>
          </a:r>
        </a:p>
      </dgm:t>
    </dgm:pt>
    <dgm:pt modelId="{18B8F242-74C9-B74C-9BAC-D1504E6DE741}" type="parTrans" cxnId="{F385F211-53DB-BE40-BA53-A1B98E80F720}">
      <dgm:prSet/>
      <dgm:spPr/>
      <dgm:t>
        <a:bodyPr/>
        <a:lstStyle/>
        <a:p>
          <a:endParaRPr lang="en-US"/>
        </a:p>
      </dgm:t>
    </dgm:pt>
    <dgm:pt modelId="{ADDED57A-E7B9-254F-90EA-0C1F809F2527}" type="sibTrans" cxnId="{F385F211-53DB-BE40-BA53-A1B98E80F720}">
      <dgm:prSet/>
      <dgm:spPr/>
      <dgm:t>
        <a:bodyPr/>
        <a:lstStyle/>
        <a:p>
          <a:endParaRPr lang="en-US"/>
        </a:p>
      </dgm:t>
    </dgm:pt>
    <dgm:pt modelId="{BE966D65-4B1B-BA49-82F3-0B154A4DF958}">
      <dgm:prSet phldr="0"/>
      <dgm:spPr/>
      <dgm:t>
        <a:bodyPr/>
        <a:lstStyle/>
        <a:p>
          <a:pPr rtl="0"/>
          <a:r>
            <a:rPr lang="en-US" sz="1800" b="0" dirty="0">
              <a:latin typeface="Calibri"/>
              <a:ea typeface="Calibri"/>
              <a:cs typeface="Calibri"/>
            </a:rPr>
            <a:t>12 Pedi Endo Fellows</a:t>
          </a:r>
        </a:p>
      </dgm:t>
    </dgm:pt>
    <dgm:pt modelId="{D25E93C1-9694-544B-A3F8-C0E96B473F58}" type="parTrans" cxnId="{404D84A1-97C0-0D44-A08F-37DF2564413A}">
      <dgm:prSet/>
      <dgm:spPr/>
      <dgm:t>
        <a:bodyPr/>
        <a:lstStyle/>
        <a:p>
          <a:endParaRPr lang="en-US"/>
        </a:p>
      </dgm:t>
    </dgm:pt>
    <dgm:pt modelId="{3D4AFB58-9599-254A-9D73-10FE646DED4E}" type="sibTrans" cxnId="{404D84A1-97C0-0D44-A08F-37DF2564413A}">
      <dgm:prSet/>
      <dgm:spPr/>
      <dgm:t>
        <a:bodyPr/>
        <a:lstStyle/>
        <a:p>
          <a:endParaRPr lang="en-US"/>
        </a:p>
      </dgm:t>
    </dgm:pt>
    <dgm:pt modelId="{233364B7-F987-4AF3-85E7-A80B293D4DF3}">
      <dgm:prSet phldr="0" custT="1"/>
      <dgm:spPr/>
      <dgm:t>
        <a:bodyPr/>
        <a:lstStyle/>
        <a:p>
          <a:pPr rtl="0"/>
          <a:r>
            <a:rPr lang="en-US" sz="1400" b="0" dirty="0">
              <a:latin typeface="Calibri"/>
              <a:ea typeface="EB Garamond"/>
              <a:cs typeface="Calibri"/>
            </a:rPr>
            <a:t>Type 2</a:t>
          </a:r>
        </a:p>
      </dgm:t>
    </dgm:pt>
    <dgm:pt modelId="{8BC86F06-8548-43F6-AF6A-A78BE46633ED}" type="parTrans" cxnId="{0421F42E-FB75-4BF4-89A4-9D2506245BD2}">
      <dgm:prSet/>
      <dgm:spPr/>
      <dgm:t>
        <a:bodyPr/>
        <a:lstStyle/>
        <a:p>
          <a:endParaRPr lang="en-US"/>
        </a:p>
      </dgm:t>
    </dgm:pt>
    <dgm:pt modelId="{207E70D3-427F-4924-B00A-3826C55C140F}" type="sibTrans" cxnId="{0421F42E-FB75-4BF4-89A4-9D2506245BD2}">
      <dgm:prSet/>
      <dgm:spPr/>
      <dgm:t>
        <a:bodyPr/>
        <a:lstStyle/>
        <a:p>
          <a:endParaRPr lang="en-US"/>
        </a:p>
      </dgm:t>
    </dgm:pt>
    <dgm:pt modelId="{83A80184-7E41-4CE2-8569-E2B970F1C26B}">
      <dgm:prSet phldr="0" custT="1"/>
      <dgm:spPr/>
      <dgm:t>
        <a:bodyPr/>
        <a:lstStyle/>
        <a:p>
          <a:pPr rtl="0"/>
          <a:r>
            <a:rPr lang="en-US" sz="1400" b="0" dirty="0">
              <a:latin typeface="Calibri"/>
              <a:ea typeface="EB Garamond"/>
              <a:cs typeface="Calibri"/>
            </a:rPr>
            <a:t>Total: ~779 </a:t>
          </a:r>
          <a:r>
            <a:rPr lang="en-US" sz="1400" b="0" dirty="0">
              <a:solidFill>
                <a:schemeClr val="tx1"/>
              </a:solidFill>
              <a:latin typeface="Calibri"/>
              <a:ea typeface="EB Garamond"/>
              <a:cs typeface="Calibri"/>
            </a:rPr>
            <a:t>patients</a:t>
          </a:r>
        </a:p>
      </dgm:t>
    </dgm:pt>
    <dgm:pt modelId="{C63BDBB7-895D-4E48-869A-22C0535E2EF3}" type="parTrans" cxnId="{0985459D-894B-48F7-A6E3-3CA57EA7ADD0}">
      <dgm:prSet/>
      <dgm:spPr/>
      <dgm:t>
        <a:bodyPr/>
        <a:lstStyle/>
        <a:p>
          <a:endParaRPr lang="en-US"/>
        </a:p>
      </dgm:t>
    </dgm:pt>
    <dgm:pt modelId="{16B5C457-A4D0-47D8-B978-663A2F1857E6}" type="sibTrans" cxnId="{0985459D-894B-48F7-A6E3-3CA57EA7ADD0}">
      <dgm:prSet/>
      <dgm:spPr/>
      <dgm:t>
        <a:bodyPr/>
        <a:lstStyle/>
        <a:p>
          <a:endParaRPr lang="en-US"/>
        </a:p>
      </dgm:t>
    </dgm:pt>
    <dgm:pt modelId="{43CFA4CA-ECED-4C2E-B63B-6F56C51B3C8B}">
      <dgm:prSet phldr="0" custT="1"/>
      <dgm:spPr/>
      <dgm:t>
        <a:bodyPr/>
        <a:lstStyle/>
        <a:p>
          <a:pPr rtl="0"/>
          <a:r>
            <a:rPr lang="en-US" sz="1400" b="0" dirty="0">
              <a:latin typeface="Calibri"/>
              <a:ea typeface="Calibri"/>
              <a:cs typeface="Calibri"/>
            </a:rPr>
            <a:t>Total: ~3300 patients </a:t>
          </a:r>
        </a:p>
      </dgm:t>
    </dgm:pt>
    <dgm:pt modelId="{C2040A74-EA89-4E60-834A-7E887B286C8B}" type="parTrans" cxnId="{A5230889-DF07-41FB-BF7E-2628EB5B98D6}">
      <dgm:prSet/>
      <dgm:spPr/>
      <dgm:t>
        <a:bodyPr/>
        <a:lstStyle/>
        <a:p>
          <a:endParaRPr lang="en-US"/>
        </a:p>
      </dgm:t>
    </dgm:pt>
    <dgm:pt modelId="{6575A004-E889-4133-B9B6-661F50144428}" type="sibTrans" cxnId="{A5230889-DF07-41FB-BF7E-2628EB5B98D6}">
      <dgm:prSet/>
      <dgm:spPr/>
      <dgm:t>
        <a:bodyPr/>
        <a:lstStyle/>
        <a:p>
          <a:endParaRPr lang="en-US"/>
        </a:p>
      </dgm:t>
    </dgm:pt>
    <dgm:pt modelId="{A3693537-441C-4164-9CFD-59B90EA22A2A}">
      <dgm:prSet phldr="0" custT="1"/>
      <dgm:spPr/>
      <dgm:t>
        <a:bodyPr/>
        <a:lstStyle/>
        <a:p>
          <a:pPr rtl="0"/>
          <a:r>
            <a:rPr lang="en-US" sz="1400" b="0" dirty="0">
              <a:latin typeface="Calibri"/>
              <a:ea typeface="Calibri"/>
              <a:cs typeface="Calibri"/>
            </a:rPr>
            <a:t>&gt;16 yrs: ~1048 </a:t>
          </a:r>
        </a:p>
      </dgm:t>
    </dgm:pt>
    <dgm:pt modelId="{124C7181-2B97-4D08-A3FD-E0703A5FF04C}" type="parTrans" cxnId="{EDC2DD18-5979-4C1A-BFB6-1DD313D7D5A0}">
      <dgm:prSet/>
      <dgm:spPr/>
      <dgm:t>
        <a:bodyPr/>
        <a:lstStyle/>
        <a:p>
          <a:endParaRPr lang="en-US"/>
        </a:p>
      </dgm:t>
    </dgm:pt>
    <dgm:pt modelId="{20B8C2CA-B04F-4B12-8885-F025B117E754}" type="sibTrans" cxnId="{EDC2DD18-5979-4C1A-BFB6-1DD313D7D5A0}">
      <dgm:prSet/>
      <dgm:spPr/>
      <dgm:t>
        <a:bodyPr/>
        <a:lstStyle/>
        <a:p>
          <a:endParaRPr lang="en-US"/>
        </a:p>
      </dgm:t>
    </dgm:pt>
    <dgm:pt modelId="{4232B7C1-88CC-458D-B427-5FD41CC8F333}">
      <dgm:prSet phldr="0" custT="1"/>
      <dgm:spPr/>
      <dgm:t>
        <a:bodyPr/>
        <a:lstStyle/>
        <a:p>
          <a:pPr rtl="0"/>
          <a:r>
            <a:rPr lang="en-US" sz="1400" b="0" dirty="0">
              <a:solidFill>
                <a:schemeClr val="tx1"/>
              </a:solidFill>
              <a:latin typeface="Calibri"/>
              <a:ea typeface="EB Garamond"/>
              <a:cs typeface="Calibri"/>
            </a:rPr>
            <a:t>&gt;16 yrs: ~442</a:t>
          </a:r>
        </a:p>
      </dgm:t>
    </dgm:pt>
    <dgm:pt modelId="{BDFF7026-260A-4343-A3B0-6DB5FD42A09F}" type="parTrans" cxnId="{A5FC66C0-32C6-4B56-9CB4-9BF6FAE0DED4}">
      <dgm:prSet/>
      <dgm:spPr/>
      <dgm:t>
        <a:bodyPr/>
        <a:lstStyle/>
        <a:p>
          <a:endParaRPr lang="en-US"/>
        </a:p>
      </dgm:t>
    </dgm:pt>
    <dgm:pt modelId="{AADA6E83-BB53-4C94-B572-C58A3A1EBD0D}" type="sibTrans" cxnId="{A5FC66C0-32C6-4B56-9CB4-9BF6FAE0DED4}">
      <dgm:prSet/>
      <dgm:spPr/>
      <dgm:t>
        <a:bodyPr/>
        <a:lstStyle/>
        <a:p>
          <a:endParaRPr lang="en-US"/>
        </a:p>
      </dgm:t>
    </dgm:pt>
    <dgm:pt modelId="{7EEECD1E-0E42-4B99-BD06-CBCB31620195}">
      <dgm:prSet phldr="0" custT="1"/>
      <dgm:spPr/>
      <dgm:t>
        <a:bodyPr/>
        <a:lstStyle/>
        <a:p>
          <a:pPr rtl="0"/>
          <a:r>
            <a:rPr lang="en-US" sz="1400" b="0" dirty="0">
              <a:solidFill>
                <a:schemeClr val="tx1"/>
              </a:solidFill>
              <a:latin typeface="Calibri"/>
              <a:ea typeface="EB Garamond"/>
              <a:cs typeface="Calibri"/>
            </a:rPr>
            <a:t>~40% with public insurance</a:t>
          </a:r>
        </a:p>
      </dgm:t>
    </dgm:pt>
    <dgm:pt modelId="{0ED780CD-399B-4114-B33A-C7965D456589}" type="parTrans" cxnId="{10FE9B21-516C-4284-A088-B0C2E0DBB77A}">
      <dgm:prSet/>
      <dgm:spPr/>
      <dgm:t>
        <a:bodyPr/>
        <a:lstStyle/>
        <a:p>
          <a:endParaRPr lang="en-US"/>
        </a:p>
      </dgm:t>
    </dgm:pt>
    <dgm:pt modelId="{6EB7AC60-616D-4F3D-AFB9-5CE6DC774AA2}" type="sibTrans" cxnId="{10FE9B21-516C-4284-A088-B0C2E0DBB77A}">
      <dgm:prSet/>
      <dgm:spPr/>
      <dgm:t>
        <a:bodyPr/>
        <a:lstStyle/>
        <a:p>
          <a:endParaRPr lang="en-US"/>
        </a:p>
      </dgm:t>
    </dgm:pt>
    <dgm:pt modelId="{05A44577-886F-483B-8636-91BD2FDC3967}">
      <dgm:prSet phldr="0" custT="1"/>
      <dgm:spPr/>
      <dgm:t>
        <a:bodyPr/>
        <a:lstStyle/>
        <a:p>
          <a:pPr rtl="0"/>
          <a:r>
            <a:rPr lang="en-US" sz="1400" b="0" dirty="0">
              <a:latin typeface="Calibri"/>
              <a:ea typeface="EB Garamond"/>
              <a:cs typeface="Calibri"/>
            </a:rPr>
            <a:t>Insurance</a:t>
          </a:r>
        </a:p>
      </dgm:t>
    </dgm:pt>
    <dgm:pt modelId="{F3F39A2E-4AF2-4C3A-A4BF-F0A39A3FCFC0}" type="parTrans" cxnId="{530B4148-C755-4B56-8CBA-6ADF11650B90}">
      <dgm:prSet/>
      <dgm:spPr/>
      <dgm:t>
        <a:bodyPr/>
        <a:lstStyle/>
        <a:p>
          <a:endParaRPr lang="en-US"/>
        </a:p>
      </dgm:t>
    </dgm:pt>
    <dgm:pt modelId="{58373277-957E-4232-8EBE-C78ECFABB11F}" type="sibTrans" cxnId="{530B4148-C755-4B56-8CBA-6ADF11650B90}">
      <dgm:prSet/>
      <dgm:spPr/>
      <dgm:t>
        <a:bodyPr/>
        <a:lstStyle/>
        <a:p>
          <a:endParaRPr lang="en-US"/>
        </a:p>
      </dgm:t>
    </dgm:pt>
    <dgm:pt modelId="{0E1133B9-1899-4E8E-9211-5F245BF05ABF}" type="pres">
      <dgm:prSet presAssocID="{1CA2456B-F185-4389-AE70-A0BAE1F50B33}" presName="Name0" presStyleCnt="0">
        <dgm:presLayoutVars>
          <dgm:dir/>
          <dgm:animLvl val="lvl"/>
          <dgm:resizeHandles val="exact"/>
        </dgm:presLayoutVars>
      </dgm:prSet>
      <dgm:spPr/>
    </dgm:pt>
    <dgm:pt modelId="{FE80DF1C-845B-4F6D-A92F-54222F7C7B6D}" type="pres">
      <dgm:prSet presAssocID="{6D57BE70-C4F2-41C7-A745-BEF99F46FFF3}" presName="composite" presStyleCnt="0"/>
      <dgm:spPr/>
    </dgm:pt>
    <dgm:pt modelId="{7EEAF31C-2E1F-4DD0-B874-707DE45685E1}" type="pres">
      <dgm:prSet presAssocID="{6D57BE70-C4F2-41C7-A745-BEF99F46FFF3}" presName="parTx" presStyleLbl="alignNode1" presStyleIdx="0" presStyleCnt="4">
        <dgm:presLayoutVars>
          <dgm:chMax val="0"/>
          <dgm:chPref val="0"/>
          <dgm:bulletEnabled val="1"/>
        </dgm:presLayoutVars>
      </dgm:prSet>
      <dgm:spPr/>
    </dgm:pt>
    <dgm:pt modelId="{B058FC45-7B2B-43A4-B7C0-9208BC2AAA77}" type="pres">
      <dgm:prSet presAssocID="{6D57BE70-C4F2-41C7-A745-BEF99F46FFF3}" presName="desTx" presStyleLbl="alignAccFollowNode1" presStyleIdx="0" presStyleCnt="4">
        <dgm:presLayoutVars>
          <dgm:bulletEnabled val="1"/>
        </dgm:presLayoutVars>
      </dgm:prSet>
      <dgm:spPr/>
    </dgm:pt>
    <dgm:pt modelId="{3473478C-6FAC-4E64-8096-D40DBC3F6A5D}" type="pres">
      <dgm:prSet presAssocID="{F8571997-4AE4-4200-9743-3D56B20A330D}" presName="space" presStyleCnt="0"/>
      <dgm:spPr/>
    </dgm:pt>
    <dgm:pt modelId="{1F090944-B711-44C9-97E4-28048AEDFF26}" type="pres">
      <dgm:prSet presAssocID="{3ABBBC00-82FC-4440-91B7-1AF3753520D9}" presName="composite" presStyleCnt="0"/>
      <dgm:spPr/>
    </dgm:pt>
    <dgm:pt modelId="{5CF026D9-2CBA-4856-A414-331E1FBCFBAC}" type="pres">
      <dgm:prSet presAssocID="{3ABBBC00-82FC-4440-91B7-1AF3753520D9}" presName="parTx" presStyleLbl="alignNode1" presStyleIdx="1" presStyleCnt="4">
        <dgm:presLayoutVars>
          <dgm:chMax val="0"/>
          <dgm:chPref val="0"/>
          <dgm:bulletEnabled val="1"/>
        </dgm:presLayoutVars>
      </dgm:prSet>
      <dgm:spPr/>
    </dgm:pt>
    <dgm:pt modelId="{65F6231F-F2F5-4C8A-A899-7155009CB993}" type="pres">
      <dgm:prSet presAssocID="{3ABBBC00-82FC-4440-91B7-1AF3753520D9}" presName="desTx" presStyleLbl="alignAccFollowNode1" presStyleIdx="1" presStyleCnt="4">
        <dgm:presLayoutVars>
          <dgm:bulletEnabled val="1"/>
        </dgm:presLayoutVars>
      </dgm:prSet>
      <dgm:spPr/>
    </dgm:pt>
    <dgm:pt modelId="{C646CE18-D685-4009-B462-64E8149DD43D}" type="pres">
      <dgm:prSet presAssocID="{5D92AFB9-7CC1-485A-91D0-E049D4D661C3}" presName="space" presStyleCnt="0"/>
      <dgm:spPr/>
    </dgm:pt>
    <dgm:pt modelId="{A67FFDDA-3640-4243-A86A-5D5FDF4D58E1}" type="pres">
      <dgm:prSet presAssocID="{E397BAC8-3B0F-41CF-9E16-BA09A3BCAF48}" presName="composite" presStyleCnt="0"/>
      <dgm:spPr/>
    </dgm:pt>
    <dgm:pt modelId="{C142284C-E6E8-4F2A-A2D7-D97A71C1E241}" type="pres">
      <dgm:prSet presAssocID="{E397BAC8-3B0F-41CF-9E16-BA09A3BCAF48}" presName="parTx" presStyleLbl="alignNode1" presStyleIdx="2" presStyleCnt="4">
        <dgm:presLayoutVars>
          <dgm:chMax val="0"/>
          <dgm:chPref val="0"/>
          <dgm:bulletEnabled val="1"/>
        </dgm:presLayoutVars>
      </dgm:prSet>
      <dgm:spPr/>
    </dgm:pt>
    <dgm:pt modelId="{3A6710C0-DBAA-4B2D-AC70-4449A1FF9E52}" type="pres">
      <dgm:prSet presAssocID="{E397BAC8-3B0F-41CF-9E16-BA09A3BCAF48}" presName="desTx" presStyleLbl="alignAccFollowNode1" presStyleIdx="2" presStyleCnt="4">
        <dgm:presLayoutVars>
          <dgm:bulletEnabled val="1"/>
        </dgm:presLayoutVars>
      </dgm:prSet>
      <dgm:spPr/>
    </dgm:pt>
    <dgm:pt modelId="{9E0198CB-CBB2-4810-A3B7-83599337AA94}" type="pres">
      <dgm:prSet presAssocID="{BEDC941C-108E-4E37-B7C5-6CACE0E953F6}" presName="space" presStyleCnt="0"/>
      <dgm:spPr/>
    </dgm:pt>
    <dgm:pt modelId="{31C9CABC-5CE2-43B5-ABFB-37825171DDB5}" type="pres">
      <dgm:prSet presAssocID="{0F6BBD52-D895-4DCC-8AE5-1CD552A8F990}" presName="composite" presStyleCnt="0"/>
      <dgm:spPr/>
    </dgm:pt>
    <dgm:pt modelId="{8615D287-89F6-4D88-AC63-C6D80C2A359F}" type="pres">
      <dgm:prSet presAssocID="{0F6BBD52-D895-4DCC-8AE5-1CD552A8F990}" presName="parTx" presStyleLbl="alignNode1" presStyleIdx="3" presStyleCnt="4">
        <dgm:presLayoutVars>
          <dgm:chMax val="0"/>
          <dgm:chPref val="0"/>
          <dgm:bulletEnabled val="1"/>
        </dgm:presLayoutVars>
      </dgm:prSet>
      <dgm:spPr/>
    </dgm:pt>
    <dgm:pt modelId="{F3576142-59D1-43FE-ADF8-0F82F3F6BC8A}" type="pres">
      <dgm:prSet presAssocID="{0F6BBD52-D895-4DCC-8AE5-1CD552A8F990}" presName="desTx" presStyleLbl="alignAccFollowNode1" presStyleIdx="3" presStyleCnt="4">
        <dgm:presLayoutVars>
          <dgm:bulletEnabled val="1"/>
        </dgm:presLayoutVars>
      </dgm:prSet>
      <dgm:spPr/>
    </dgm:pt>
  </dgm:ptLst>
  <dgm:cxnLst>
    <dgm:cxn modelId="{B9D30F01-2F02-4F9D-A3B7-D06BC5459C48}" srcId="{3ABBBC00-82FC-4440-91B7-1AF3753520D9}" destId="{E16D1578-DDCD-452B-A1AB-C8BB76113199}" srcOrd="1" destOrd="0" parTransId="{79DAC99C-4A0F-40BB-812F-BF1D5B0D50C0}" sibTransId="{33420478-10BD-43F6-8077-6DF307AF069F}"/>
    <dgm:cxn modelId="{A06A4E01-AA90-4762-8EC1-307A4D3401EB}" srcId="{E397BAC8-3B0F-41CF-9E16-BA09A3BCAF48}" destId="{054A185E-3DC8-48BF-8068-E28DA9A566CC}" srcOrd="3" destOrd="0" parTransId="{B30DC537-C03B-434D-B853-96F90679A775}" sibTransId="{EE55753F-840A-4754-96C8-F0D4E9FDE4B3}"/>
    <dgm:cxn modelId="{866A9101-B6A9-4F2F-9539-C223273124A5}" type="presOf" srcId="{FD51A949-242A-4F70-9ED2-3E59BE3C1830}" destId="{3A6710C0-DBAA-4B2D-AC70-4449A1FF9E52}" srcOrd="0" destOrd="4" presId="urn:microsoft.com/office/officeart/2005/8/layout/hList1"/>
    <dgm:cxn modelId="{6CB2480D-E2D6-4720-8DD5-A4F830301B5E}" type="presOf" srcId="{6D57BE70-C4F2-41C7-A745-BEF99F46FFF3}" destId="{7EEAF31C-2E1F-4DD0-B874-707DE45685E1}" srcOrd="0" destOrd="0" presId="urn:microsoft.com/office/officeart/2005/8/layout/hList1"/>
    <dgm:cxn modelId="{D4DFA70F-501A-4A83-8AAA-ADFA44F8044D}" type="presOf" srcId="{D19FC62B-4C39-4460-BBD6-C7C2965FAD2F}" destId="{3A6710C0-DBAA-4B2D-AC70-4449A1FF9E52}" srcOrd="0" destOrd="0" presId="urn:microsoft.com/office/officeart/2005/8/layout/hList1"/>
    <dgm:cxn modelId="{F385F211-53DB-BE40-BA53-A1B98E80F720}" srcId="{0F6BBD52-D895-4DCC-8AE5-1CD552A8F990}" destId="{E70605DE-7158-6F4D-BBA8-E200A3831C3E}" srcOrd="1" destOrd="0" parTransId="{18B8F242-74C9-B74C-9BAC-D1504E6DE741}" sibTransId="{ADDED57A-E7B9-254F-90EA-0C1F809F2527}"/>
    <dgm:cxn modelId="{EDC2DD18-5979-4C1A-BFB6-1DD313D7D5A0}" srcId="{A52BAF1E-DA0F-420F-9E0B-5B7DE1E5E50A}" destId="{A3693537-441C-4164-9CFD-59B90EA22A2A}" srcOrd="1" destOrd="0" parTransId="{124C7181-2B97-4D08-A3FD-E0703A5FF04C}" sibTransId="{20B8C2CA-B04F-4B12-8885-F025B117E754}"/>
    <dgm:cxn modelId="{63685D1A-34DC-4916-86D3-A8FC14D2B876}" type="presOf" srcId="{233364B7-F987-4AF3-85E7-A80B293D4DF3}" destId="{B058FC45-7B2B-43A4-B7C0-9208BC2AAA77}" srcOrd="0" destOrd="3" presId="urn:microsoft.com/office/officeart/2005/8/layout/hList1"/>
    <dgm:cxn modelId="{9C27411C-75B6-4D3F-9B21-C937FF8EE075}" type="presOf" srcId="{A52BAF1E-DA0F-420F-9E0B-5B7DE1E5E50A}" destId="{B058FC45-7B2B-43A4-B7C0-9208BC2AAA77}" srcOrd="0" destOrd="0" presId="urn:microsoft.com/office/officeart/2005/8/layout/hList1"/>
    <dgm:cxn modelId="{4F500F1E-1471-47C7-BFD3-CFF148664210}" type="presOf" srcId="{3A26DE6F-2F3F-4983-B726-CE87667E6106}" destId="{65F6231F-F2F5-4C8A-A899-7155009CB993}" srcOrd="0" destOrd="3" presId="urn:microsoft.com/office/officeart/2005/8/layout/hList1"/>
    <dgm:cxn modelId="{10FE9B21-516C-4284-A088-B0C2E0DBB77A}" srcId="{05A44577-886F-483B-8636-91BD2FDC3967}" destId="{7EEECD1E-0E42-4B99-BD06-CBCB31620195}" srcOrd="0" destOrd="0" parTransId="{0ED780CD-399B-4114-B33A-C7965D456589}" sibTransId="{6EB7AC60-616D-4F3D-AFB9-5CE6DC774AA2}"/>
    <dgm:cxn modelId="{0421F42E-FB75-4BF4-89A4-9D2506245BD2}" srcId="{6D57BE70-C4F2-41C7-A745-BEF99F46FFF3}" destId="{233364B7-F987-4AF3-85E7-A80B293D4DF3}" srcOrd="1" destOrd="0" parTransId="{8BC86F06-8548-43F6-AF6A-A78BE46633ED}" sibTransId="{207E70D3-427F-4924-B00A-3826C55C140F}"/>
    <dgm:cxn modelId="{43515330-E880-4883-A090-F80B15B4EA9C}" type="presOf" srcId="{E70605DE-7158-6F4D-BBA8-E200A3831C3E}" destId="{F3576142-59D1-43FE-ADF8-0F82F3F6BC8A}" srcOrd="0" destOrd="1" presId="urn:microsoft.com/office/officeart/2005/8/layout/hList1"/>
    <dgm:cxn modelId="{85AE0032-9276-446A-ABBF-96EDD423F379}" type="presOf" srcId="{83A80184-7E41-4CE2-8569-E2B970F1C26B}" destId="{B058FC45-7B2B-43A4-B7C0-9208BC2AAA77}" srcOrd="0" destOrd="4" presId="urn:microsoft.com/office/officeart/2005/8/layout/hList1"/>
    <dgm:cxn modelId="{B4E25035-ADB6-474D-BE64-E0C6F03CE72D}" srcId="{0F6BBD52-D895-4DCC-8AE5-1CD552A8F990}" destId="{B24C0B1A-C7FA-4B75-BF86-39E33EA48C96}" srcOrd="0" destOrd="0" parTransId="{61F6631C-2D23-43D6-B76F-C39551F190E1}" sibTransId="{E689A758-F17A-43E1-A6A3-230ACEA038B5}"/>
    <dgm:cxn modelId="{39BC1A47-7DD4-490D-B51F-B79AEB9162F6}" srcId="{3ABBBC00-82FC-4440-91B7-1AF3753520D9}" destId="{96749524-DFD4-45C0-8375-EB004BED7E33}" srcOrd="0" destOrd="0" parTransId="{B7054FF1-9B32-4712-8AA3-529755655B40}" sibTransId="{89B65EC6-C12D-4F02-8AB2-5580AC5C4DC5}"/>
    <dgm:cxn modelId="{530B4148-C755-4B56-8CBA-6ADF11650B90}" srcId="{6D57BE70-C4F2-41C7-A745-BEF99F46FFF3}" destId="{05A44577-886F-483B-8636-91BD2FDC3967}" srcOrd="2" destOrd="0" parTransId="{F3F39A2E-4AF2-4C3A-A4BF-F0A39A3FCFC0}" sibTransId="{58373277-957E-4232-8EBE-C78ECFABB11F}"/>
    <dgm:cxn modelId="{F898856D-B1B2-4AF7-A77E-558348CA9B4E}" srcId="{E397BAC8-3B0F-41CF-9E16-BA09A3BCAF48}" destId="{FD51A949-242A-4F70-9ED2-3E59BE3C1830}" srcOrd="4" destOrd="0" parTransId="{14ED90DD-4771-4C6F-B820-D445CD0391E9}" sibTransId="{49F941C8-618D-4451-9B31-DAF800D4B7CC}"/>
    <dgm:cxn modelId="{0D4A966E-50E1-4465-A61F-6CB8752DC070}" type="presOf" srcId="{43CFA4CA-ECED-4C2E-B63B-6F56C51B3C8B}" destId="{B058FC45-7B2B-43A4-B7C0-9208BC2AAA77}" srcOrd="0" destOrd="1" presId="urn:microsoft.com/office/officeart/2005/8/layout/hList1"/>
    <dgm:cxn modelId="{28743A71-A697-4478-AE97-33D1C324B784}" type="presOf" srcId="{B24C0B1A-C7FA-4B75-BF86-39E33EA48C96}" destId="{F3576142-59D1-43FE-ADF8-0F82F3F6BC8A}" srcOrd="0" destOrd="0" presId="urn:microsoft.com/office/officeart/2005/8/layout/hList1"/>
    <dgm:cxn modelId="{0A5D4072-947A-4EF3-808B-5CF573B934CD}" type="presOf" srcId="{05A44577-886F-483B-8636-91BD2FDC3967}" destId="{B058FC45-7B2B-43A4-B7C0-9208BC2AAA77}" srcOrd="0" destOrd="6" presId="urn:microsoft.com/office/officeart/2005/8/layout/hList1"/>
    <dgm:cxn modelId="{EB57EC58-3837-4263-9100-7B8D3AF54718}" type="presOf" srcId="{50FC01CA-DC8B-4A32-A582-9AE0E47B1729}" destId="{3A6710C0-DBAA-4B2D-AC70-4449A1FF9E52}" srcOrd="0" destOrd="2" presId="urn:microsoft.com/office/officeart/2005/8/layout/hList1"/>
    <dgm:cxn modelId="{879F457C-6CA1-46CF-9393-D908E34564E8}" srcId="{E397BAC8-3B0F-41CF-9E16-BA09A3BCAF48}" destId="{50FC01CA-DC8B-4A32-A582-9AE0E47B1729}" srcOrd="2" destOrd="0" parTransId="{B84958A6-0A42-4C1F-A03D-21BB61E4B4BE}" sibTransId="{AC2AE7FA-A382-4E86-83C1-DB7D7FEB9783}"/>
    <dgm:cxn modelId="{2152467C-61B8-42B8-9D2C-D304D484AA84}" type="presOf" srcId="{0F6BBD52-D895-4DCC-8AE5-1CD552A8F990}" destId="{8615D287-89F6-4D88-AC63-C6D80C2A359F}" srcOrd="0" destOrd="0" presId="urn:microsoft.com/office/officeart/2005/8/layout/hList1"/>
    <dgm:cxn modelId="{691BEA87-D4A6-4AAC-8987-D145B5A1E3E5}" type="presOf" srcId="{A3693537-441C-4164-9CFD-59B90EA22A2A}" destId="{B058FC45-7B2B-43A4-B7C0-9208BC2AAA77}" srcOrd="0" destOrd="2" presId="urn:microsoft.com/office/officeart/2005/8/layout/hList1"/>
    <dgm:cxn modelId="{A5230889-DF07-41FB-BF7E-2628EB5B98D6}" srcId="{A52BAF1E-DA0F-420F-9E0B-5B7DE1E5E50A}" destId="{43CFA4CA-ECED-4C2E-B63B-6F56C51B3C8B}" srcOrd="0" destOrd="0" parTransId="{C2040A74-EA89-4E60-834A-7E887B286C8B}" sibTransId="{6575A004-E889-4133-B9B6-661F50144428}"/>
    <dgm:cxn modelId="{94002E9A-5AAB-4E00-8C5F-BD32AA428F60}" type="presOf" srcId="{3ABBBC00-82FC-4440-91B7-1AF3753520D9}" destId="{5CF026D9-2CBA-4856-A414-331E1FBCFBAC}" srcOrd="0" destOrd="0" presId="urn:microsoft.com/office/officeart/2005/8/layout/hList1"/>
    <dgm:cxn modelId="{8533FC9C-8A3D-487F-B1CB-F25F51B2D015}" type="presOf" srcId="{7EEECD1E-0E42-4B99-BD06-CBCB31620195}" destId="{B058FC45-7B2B-43A4-B7C0-9208BC2AAA77}" srcOrd="0" destOrd="7" presId="urn:microsoft.com/office/officeart/2005/8/layout/hList1"/>
    <dgm:cxn modelId="{13D80F9D-098C-4650-814C-EB8ABD034112}" srcId="{1CA2456B-F185-4389-AE70-A0BAE1F50B33}" destId="{0F6BBD52-D895-4DCC-8AE5-1CD552A8F990}" srcOrd="3" destOrd="0" parTransId="{7AB9FAA8-E28B-4391-8DB8-D8655428FF99}" sibTransId="{BB277E63-8E5B-4932-9BB7-2C4DDBDB4C5D}"/>
    <dgm:cxn modelId="{0985459D-894B-48F7-A6E3-3CA57EA7ADD0}" srcId="{233364B7-F987-4AF3-85E7-A80B293D4DF3}" destId="{83A80184-7E41-4CE2-8569-E2B970F1C26B}" srcOrd="0" destOrd="0" parTransId="{C63BDBB7-895D-4E48-869A-22C0535E2EF3}" sibTransId="{16B5C457-A4D0-47D8-B978-663A2F1857E6}"/>
    <dgm:cxn modelId="{404D84A1-97C0-0D44-A08F-37DF2564413A}" srcId="{3ABBBC00-82FC-4440-91B7-1AF3753520D9}" destId="{BE966D65-4B1B-BA49-82F3-0B154A4DF958}" srcOrd="2" destOrd="0" parTransId="{D25E93C1-9694-544B-A3F8-C0E96B473F58}" sibTransId="{3D4AFB58-9599-254A-9D73-10FE646DED4E}"/>
    <dgm:cxn modelId="{F8F4A4B9-0EE8-4CEF-A7DB-F09D37664516}" type="presOf" srcId="{E397BAC8-3B0F-41CF-9E16-BA09A3BCAF48}" destId="{C142284C-E6E8-4F2A-A2D7-D97A71C1E241}" srcOrd="0" destOrd="0" presId="urn:microsoft.com/office/officeart/2005/8/layout/hList1"/>
    <dgm:cxn modelId="{1373E3BD-C8EB-4A27-B9D1-8C3A0B9C36D6}" type="presOf" srcId="{1CA2456B-F185-4389-AE70-A0BAE1F50B33}" destId="{0E1133B9-1899-4E8E-9211-5F245BF05ABF}" srcOrd="0" destOrd="0" presId="urn:microsoft.com/office/officeart/2005/8/layout/hList1"/>
    <dgm:cxn modelId="{A5FC66C0-32C6-4B56-9CB4-9BF6FAE0DED4}" srcId="{233364B7-F987-4AF3-85E7-A80B293D4DF3}" destId="{4232B7C1-88CC-458D-B427-5FD41CC8F333}" srcOrd="1" destOrd="0" parTransId="{BDFF7026-260A-4343-A3B0-6DB5FD42A09F}" sibTransId="{AADA6E83-BB53-4C94-B572-C58A3A1EBD0D}"/>
    <dgm:cxn modelId="{74A615CC-FEB0-4992-B75A-E4507A828A6A}" type="presOf" srcId="{4606E60A-4928-44B3-8459-1FB7E9A25332}" destId="{3A6710C0-DBAA-4B2D-AC70-4449A1FF9E52}" srcOrd="0" destOrd="1" presId="urn:microsoft.com/office/officeart/2005/8/layout/hList1"/>
    <dgm:cxn modelId="{6A4CFECE-4B68-4D1D-A616-884DD6B7B03A}" srcId="{1CA2456B-F185-4389-AE70-A0BAE1F50B33}" destId="{E397BAC8-3B0F-41CF-9E16-BA09A3BCAF48}" srcOrd="2" destOrd="0" parTransId="{56907864-F949-4269-B388-37ECE2E0F2C4}" sibTransId="{BEDC941C-108E-4E37-B7C5-6CACE0E953F6}"/>
    <dgm:cxn modelId="{E6B51DCF-459D-411E-A6B2-843C508B3F99}" srcId="{3ABBBC00-82FC-4440-91B7-1AF3753520D9}" destId="{3A26DE6F-2F3F-4983-B726-CE87667E6106}" srcOrd="3" destOrd="0" parTransId="{E4399CFC-4329-4310-9207-9DB5B8CAF123}" sibTransId="{B8B95E4E-318A-4620-BD20-1EA985991EF6}"/>
    <dgm:cxn modelId="{0F4A8AD0-6CC6-4331-BA15-D3462E8068BA}" srcId="{6D57BE70-C4F2-41C7-A745-BEF99F46FFF3}" destId="{A52BAF1E-DA0F-420F-9E0B-5B7DE1E5E50A}" srcOrd="0" destOrd="0" parTransId="{334F93F3-E2E5-4BB4-8A4F-A47D335F5AC3}" sibTransId="{7A8F09E6-4766-486C-AC2F-28D9BBDB0DD7}"/>
    <dgm:cxn modelId="{ADDD9BD9-F2A8-4E09-B718-2543DB352A34}" srcId="{E397BAC8-3B0F-41CF-9E16-BA09A3BCAF48}" destId="{D19FC62B-4C39-4460-BBD6-C7C2965FAD2F}" srcOrd="0" destOrd="0" parTransId="{92595474-FACA-4F98-AAA8-D147CFBB8960}" sibTransId="{8A0C3567-9D8C-48A5-8309-9B0E49E8CE0B}"/>
    <dgm:cxn modelId="{7B5E66E2-A790-4688-94C9-1BE0CC712011}" type="presOf" srcId="{BE966D65-4B1B-BA49-82F3-0B154A4DF958}" destId="{65F6231F-F2F5-4C8A-A899-7155009CB993}" srcOrd="0" destOrd="2" presId="urn:microsoft.com/office/officeart/2005/8/layout/hList1"/>
    <dgm:cxn modelId="{0F6B2BE6-D521-4914-ABAC-D13311CFF01E}" type="presOf" srcId="{42B5AEE1-2D2E-47DB-A820-B4C3AF724C81}" destId="{3A6710C0-DBAA-4B2D-AC70-4449A1FF9E52}" srcOrd="0" destOrd="5" presId="urn:microsoft.com/office/officeart/2005/8/layout/hList1"/>
    <dgm:cxn modelId="{D3F406E8-17D9-484B-AD92-D0C868E868B1}" type="presOf" srcId="{4232B7C1-88CC-458D-B427-5FD41CC8F333}" destId="{B058FC45-7B2B-43A4-B7C0-9208BC2AAA77}" srcOrd="0" destOrd="5" presId="urn:microsoft.com/office/officeart/2005/8/layout/hList1"/>
    <dgm:cxn modelId="{1C603DF0-63F9-4DBD-BA74-71C3C369F8E7}" srcId="{1CA2456B-F185-4389-AE70-A0BAE1F50B33}" destId="{3ABBBC00-82FC-4440-91B7-1AF3753520D9}" srcOrd="1" destOrd="0" parTransId="{E338F41A-860C-40EF-A18A-C5BA01846021}" sibTransId="{5D92AFB9-7CC1-485A-91D0-E049D4D661C3}"/>
    <dgm:cxn modelId="{31AA17F2-D301-4DEA-AAD1-BD0D572A8A55}" srcId="{1CA2456B-F185-4389-AE70-A0BAE1F50B33}" destId="{6D57BE70-C4F2-41C7-A745-BEF99F46FFF3}" srcOrd="0" destOrd="0" parTransId="{A025BCDF-9841-40C7-BA94-9DF7B17DBE1A}" sibTransId="{F8571997-4AE4-4200-9743-3D56B20A330D}"/>
    <dgm:cxn modelId="{157288F2-47B1-4704-9D79-C802BE68A737}" type="presOf" srcId="{96749524-DFD4-45C0-8375-EB004BED7E33}" destId="{65F6231F-F2F5-4C8A-A899-7155009CB993}" srcOrd="0" destOrd="0" presId="urn:microsoft.com/office/officeart/2005/8/layout/hList1"/>
    <dgm:cxn modelId="{A65E0DF3-D812-4020-8578-FBD2136A6571}" srcId="{E397BAC8-3B0F-41CF-9E16-BA09A3BCAF48}" destId="{4606E60A-4928-44B3-8459-1FB7E9A25332}" srcOrd="1" destOrd="0" parTransId="{BF58D854-BFFC-48FA-98CB-4BEA6415F4FB}" sibTransId="{ADE2ABC6-43BD-4B2A-940D-149AB439EA0E}"/>
    <dgm:cxn modelId="{B6A87CF8-3138-4313-B0EE-5DEC763261EE}" srcId="{E397BAC8-3B0F-41CF-9E16-BA09A3BCAF48}" destId="{42B5AEE1-2D2E-47DB-A820-B4C3AF724C81}" srcOrd="5" destOrd="0" parTransId="{E64CCA69-1C8F-43A8-956E-970B915E9756}" sibTransId="{81AA39EA-0E1F-4853-96E4-D831A262CB46}"/>
    <dgm:cxn modelId="{70D83BF9-177D-4EF2-8EB4-F89FF6434DFD}" type="presOf" srcId="{E16D1578-DDCD-452B-A1AB-C8BB76113199}" destId="{65F6231F-F2F5-4C8A-A899-7155009CB993}" srcOrd="0" destOrd="1" presId="urn:microsoft.com/office/officeart/2005/8/layout/hList1"/>
    <dgm:cxn modelId="{50E762FB-3307-4078-A724-878EF2CC15A7}" type="presOf" srcId="{054A185E-3DC8-48BF-8068-E28DA9A566CC}" destId="{3A6710C0-DBAA-4B2D-AC70-4449A1FF9E52}" srcOrd="0" destOrd="3" presId="urn:microsoft.com/office/officeart/2005/8/layout/hList1"/>
    <dgm:cxn modelId="{7F4212AD-B316-4877-B1B0-62BCD9DF9552}" type="presParOf" srcId="{0E1133B9-1899-4E8E-9211-5F245BF05ABF}" destId="{FE80DF1C-845B-4F6D-A92F-54222F7C7B6D}" srcOrd="0" destOrd="0" presId="urn:microsoft.com/office/officeart/2005/8/layout/hList1"/>
    <dgm:cxn modelId="{509C6E33-69CA-4CBB-827D-1C5E5BF389B4}" type="presParOf" srcId="{FE80DF1C-845B-4F6D-A92F-54222F7C7B6D}" destId="{7EEAF31C-2E1F-4DD0-B874-707DE45685E1}" srcOrd="0" destOrd="0" presId="urn:microsoft.com/office/officeart/2005/8/layout/hList1"/>
    <dgm:cxn modelId="{440C7BB7-6900-46DF-B6FA-15C6F8A82FAD}" type="presParOf" srcId="{FE80DF1C-845B-4F6D-A92F-54222F7C7B6D}" destId="{B058FC45-7B2B-43A4-B7C0-9208BC2AAA77}" srcOrd="1" destOrd="0" presId="urn:microsoft.com/office/officeart/2005/8/layout/hList1"/>
    <dgm:cxn modelId="{3FCA362B-2C20-4085-8537-C481D4720785}" type="presParOf" srcId="{0E1133B9-1899-4E8E-9211-5F245BF05ABF}" destId="{3473478C-6FAC-4E64-8096-D40DBC3F6A5D}" srcOrd="1" destOrd="0" presId="urn:microsoft.com/office/officeart/2005/8/layout/hList1"/>
    <dgm:cxn modelId="{19A0990D-1B0A-49B6-BEA2-A1E6251B9E06}" type="presParOf" srcId="{0E1133B9-1899-4E8E-9211-5F245BF05ABF}" destId="{1F090944-B711-44C9-97E4-28048AEDFF26}" srcOrd="2" destOrd="0" presId="urn:microsoft.com/office/officeart/2005/8/layout/hList1"/>
    <dgm:cxn modelId="{4E6EE116-2998-4B49-8E15-D0214484C3D5}" type="presParOf" srcId="{1F090944-B711-44C9-97E4-28048AEDFF26}" destId="{5CF026D9-2CBA-4856-A414-331E1FBCFBAC}" srcOrd="0" destOrd="0" presId="urn:microsoft.com/office/officeart/2005/8/layout/hList1"/>
    <dgm:cxn modelId="{28E0F59B-934D-4D33-BC20-6219671F4D06}" type="presParOf" srcId="{1F090944-B711-44C9-97E4-28048AEDFF26}" destId="{65F6231F-F2F5-4C8A-A899-7155009CB993}" srcOrd="1" destOrd="0" presId="urn:microsoft.com/office/officeart/2005/8/layout/hList1"/>
    <dgm:cxn modelId="{314ED5AA-C7ED-41DF-88FF-238BCC8FBD92}" type="presParOf" srcId="{0E1133B9-1899-4E8E-9211-5F245BF05ABF}" destId="{C646CE18-D685-4009-B462-64E8149DD43D}" srcOrd="3" destOrd="0" presId="urn:microsoft.com/office/officeart/2005/8/layout/hList1"/>
    <dgm:cxn modelId="{CA5E7697-E3A0-47A1-94BC-DBFBFE39AB6F}" type="presParOf" srcId="{0E1133B9-1899-4E8E-9211-5F245BF05ABF}" destId="{A67FFDDA-3640-4243-A86A-5D5FDF4D58E1}" srcOrd="4" destOrd="0" presId="urn:microsoft.com/office/officeart/2005/8/layout/hList1"/>
    <dgm:cxn modelId="{EEAF4BB0-B59D-4B3B-900D-C12E4BCC9353}" type="presParOf" srcId="{A67FFDDA-3640-4243-A86A-5D5FDF4D58E1}" destId="{C142284C-E6E8-4F2A-A2D7-D97A71C1E241}" srcOrd="0" destOrd="0" presId="urn:microsoft.com/office/officeart/2005/8/layout/hList1"/>
    <dgm:cxn modelId="{EBDF3422-87B2-43B9-9BCE-0482BB32CA48}" type="presParOf" srcId="{A67FFDDA-3640-4243-A86A-5D5FDF4D58E1}" destId="{3A6710C0-DBAA-4B2D-AC70-4449A1FF9E52}" srcOrd="1" destOrd="0" presId="urn:microsoft.com/office/officeart/2005/8/layout/hList1"/>
    <dgm:cxn modelId="{705CCF75-1D41-43F8-A991-3E1C1F1CCD9C}" type="presParOf" srcId="{0E1133B9-1899-4E8E-9211-5F245BF05ABF}" destId="{9E0198CB-CBB2-4810-A3B7-83599337AA94}" srcOrd="5" destOrd="0" presId="urn:microsoft.com/office/officeart/2005/8/layout/hList1"/>
    <dgm:cxn modelId="{CEB837C9-988F-4E44-8BA3-2FCBD476B44D}" type="presParOf" srcId="{0E1133B9-1899-4E8E-9211-5F245BF05ABF}" destId="{31C9CABC-5CE2-43B5-ABFB-37825171DDB5}" srcOrd="6" destOrd="0" presId="urn:microsoft.com/office/officeart/2005/8/layout/hList1"/>
    <dgm:cxn modelId="{8BE673EF-E6A1-48E9-9D97-BF9F2ED7E203}" type="presParOf" srcId="{31C9CABC-5CE2-43B5-ABFB-37825171DDB5}" destId="{8615D287-89F6-4D88-AC63-C6D80C2A359F}" srcOrd="0" destOrd="0" presId="urn:microsoft.com/office/officeart/2005/8/layout/hList1"/>
    <dgm:cxn modelId="{09F44A5B-9853-4B9E-BA0D-CC59EB938E0B}" type="presParOf" srcId="{31C9CABC-5CE2-43B5-ABFB-37825171DDB5}" destId="{F3576142-59D1-43FE-ADF8-0F82F3F6BC8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6611F62-CA8B-41E6-BEC3-9C4FB8E30AF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43020E2-4A40-4EC6-BE9B-F7B74D455D48}">
      <dgm:prSet phldr="0" custT="1"/>
      <dgm:spPr/>
      <dgm:t>
        <a:bodyPr/>
        <a:lstStyle/>
        <a:p>
          <a:pPr algn="l">
            <a:lnSpc>
              <a:spcPct val="90000"/>
            </a:lnSpc>
          </a:pPr>
          <a:r>
            <a:rPr lang="en-US" sz="2000" dirty="0">
              <a:solidFill>
                <a:schemeClr val="bg1"/>
              </a:solidFill>
              <a:latin typeface="Calibri"/>
              <a:ea typeface="Calibri"/>
              <a:cs typeface="Calibri"/>
            </a:rPr>
            <a:t>Adolescents transitioning from pediatric to adult diabetes care</a:t>
          </a:r>
          <a:endParaRPr lang="en-US" dirty="0"/>
        </a:p>
      </dgm:t>
    </dgm:pt>
    <dgm:pt modelId="{CA0CB5AB-2D97-45CC-9804-9DE940AA256F}" type="parTrans" cxnId="{709409BE-65A2-468D-A6D9-A54710AE5F0D}">
      <dgm:prSet/>
      <dgm:spPr/>
    </dgm:pt>
    <dgm:pt modelId="{D4BECD0A-02AC-460F-9EA5-29DB72680ABF}" type="sibTrans" cxnId="{709409BE-65A2-468D-A6D9-A54710AE5F0D}">
      <dgm:prSet/>
      <dgm:spPr/>
    </dgm:pt>
    <dgm:pt modelId="{E5FD9822-8978-4808-844A-A80334B3DDAF}">
      <dgm:prSet phldr="0"/>
      <dgm:spPr/>
      <dgm:t>
        <a:bodyPr/>
        <a:lstStyle/>
        <a:p>
          <a:pPr algn="l">
            <a:lnSpc>
              <a:spcPct val="90000"/>
            </a:lnSpc>
          </a:pPr>
          <a:r>
            <a:rPr lang="en-US" sz="2000" dirty="0">
              <a:latin typeface="Calibri"/>
              <a:ea typeface="Calibri"/>
              <a:cs typeface="Calibri"/>
            </a:rPr>
            <a:t>Experience increased self-management demands</a:t>
          </a:r>
        </a:p>
      </dgm:t>
    </dgm:pt>
    <dgm:pt modelId="{41968B29-AD93-49BD-AADA-AFAA295C2D65}" type="parTrans" cxnId="{A40E2685-3B08-4C56-85EB-A09ED87489FB}">
      <dgm:prSet/>
      <dgm:spPr/>
    </dgm:pt>
    <dgm:pt modelId="{EF5527E5-4C6B-4C32-BC25-66B6125305B6}" type="sibTrans" cxnId="{A40E2685-3B08-4C56-85EB-A09ED87489FB}">
      <dgm:prSet/>
      <dgm:spPr/>
    </dgm:pt>
    <dgm:pt modelId="{ED2BB6B2-255B-4EE6-BB81-41CEE345D04D}">
      <dgm:prSet phldr="0"/>
      <dgm:spPr/>
      <dgm:t>
        <a:bodyPr/>
        <a:lstStyle/>
        <a:p>
          <a:pPr algn="l" rtl="0">
            <a:lnSpc>
              <a:spcPct val="90000"/>
            </a:lnSpc>
          </a:pPr>
          <a:r>
            <a:rPr lang="en-US" sz="2000" dirty="0">
              <a:latin typeface="Calibri"/>
              <a:ea typeface="Calibri"/>
              <a:cs typeface="Calibri"/>
            </a:rPr>
            <a:t>Navigate a crucial and vulnerable stage of development</a:t>
          </a:r>
        </a:p>
      </dgm:t>
    </dgm:pt>
    <dgm:pt modelId="{FF176AD7-5A4E-4FC0-9DF8-9FBCE414FCDE}" type="parTrans" cxnId="{1AE953AC-BCEC-4EC4-BB52-62DDE9D587EB}">
      <dgm:prSet/>
      <dgm:spPr/>
    </dgm:pt>
    <dgm:pt modelId="{170BBA49-8DE6-4B08-98EF-911FECF8ECEB}" type="sibTrans" cxnId="{1AE953AC-BCEC-4EC4-BB52-62DDE9D587EB}">
      <dgm:prSet/>
      <dgm:spPr/>
    </dgm:pt>
    <dgm:pt modelId="{32D4AA8D-BFC7-47F1-ACFD-1670C7B5ED99}">
      <dgm:prSet phldr="0"/>
      <dgm:spPr/>
      <dgm:t>
        <a:bodyPr/>
        <a:lstStyle/>
        <a:p>
          <a:pPr algn="l">
            <a:lnSpc>
              <a:spcPct val="90000"/>
            </a:lnSpc>
          </a:pPr>
          <a:r>
            <a:rPr lang="en-US" sz="2000" dirty="0">
              <a:latin typeface="Calibri"/>
              <a:ea typeface="Calibri"/>
              <a:cs typeface="Calibri"/>
            </a:rPr>
            <a:t>Lead to gaps in care, including decreased follow-up</a:t>
          </a:r>
        </a:p>
      </dgm:t>
    </dgm:pt>
    <dgm:pt modelId="{80D7D46A-A707-4B14-8BB2-5E2478CAD98B}" type="parTrans" cxnId="{157AE249-E51C-4CB3-9973-9F7E2B5A7F94}">
      <dgm:prSet/>
      <dgm:spPr/>
    </dgm:pt>
    <dgm:pt modelId="{528D0118-ACE4-4536-A498-E60266ABC5BD}" type="sibTrans" cxnId="{157AE249-E51C-4CB3-9973-9F7E2B5A7F94}">
      <dgm:prSet/>
      <dgm:spPr/>
    </dgm:pt>
    <dgm:pt modelId="{A03C78D6-2F90-45AC-9281-22B95E5A702F}">
      <dgm:prSet phldr="0"/>
      <dgm:spPr/>
      <dgm:t>
        <a:bodyPr/>
        <a:lstStyle/>
        <a:p>
          <a:pPr algn="l" rtl="0">
            <a:lnSpc>
              <a:spcPct val="90000"/>
            </a:lnSpc>
          </a:pPr>
          <a:r>
            <a:rPr lang="en-US" sz="2000" dirty="0">
              <a:latin typeface="Calibri"/>
              <a:ea typeface="Calibri"/>
              <a:cs typeface="Calibri"/>
            </a:rPr>
            <a:t>Contributes to worsening glycemic control </a:t>
          </a:r>
        </a:p>
      </dgm:t>
    </dgm:pt>
    <dgm:pt modelId="{6BE9C27E-C1FC-42FB-AD6B-7AE87AB489E5}" type="parTrans" cxnId="{7653AC1E-6A55-48E5-B5AB-B129EA2324D1}">
      <dgm:prSet/>
      <dgm:spPr/>
    </dgm:pt>
    <dgm:pt modelId="{817183D9-4B15-4D7C-886C-02DF5C2F8133}" type="sibTrans" cxnId="{7653AC1E-6A55-48E5-B5AB-B129EA2324D1}">
      <dgm:prSet/>
      <dgm:spPr/>
    </dgm:pt>
    <dgm:pt modelId="{BDA5124E-76EA-479F-8C18-9BFC78886B37}">
      <dgm:prSet phldr="0"/>
      <dgm:spPr/>
      <dgm:t>
        <a:bodyPr/>
        <a:lstStyle/>
        <a:p>
          <a:pPr algn="l" rtl="0">
            <a:lnSpc>
              <a:spcPct val="90000"/>
            </a:lnSpc>
          </a:pPr>
          <a:r>
            <a:rPr lang="en-US" sz="2000" dirty="0">
              <a:latin typeface="Calibri"/>
              <a:ea typeface="Calibri"/>
              <a:cs typeface="Calibri"/>
            </a:rPr>
            <a:t>Increased risk of complications, such as hospitalizations</a:t>
          </a:r>
          <a:endParaRPr lang="en-US" sz="2000" dirty="0">
            <a:solidFill>
              <a:srgbClr val="000000"/>
            </a:solidFill>
            <a:latin typeface="Calibri"/>
            <a:ea typeface="Calibri"/>
            <a:cs typeface="Calibri"/>
          </a:endParaRPr>
        </a:p>
      </dgm:t>
    </dgm:pt>
    <dgm:pt modelId="{D0B5ED6B-6473-4B79-87B5-356FFA2B56E1}" type="parTrans" cxnId="{6621E5E5-B134-46FD-BAFC-96A5249DDB99}">
      <dgm:prSet/>
      <dgm:spPr/>
    </dgm:pt>
    <dgm:pt modelId="{F8CCA29D-9A01-451C-AC35-980060D84721}" type="sibTrans" cxnId="{6621E5E5-B134-46FD-BAFC-96A5249DDB99}">
      <dgm:prSet/>
      <dgm:spPr/>
    </dgm:pt>
    <dgm:pt modelId="{C7B25AAE-C464-4744-A3C2-55B66109DFBF}">
      <dgm:prSet phldr="0"/>
      <dgm:spPr/>
      <dgm:t>
        <a:bodyPr/>
        <a:lstStyle/>
        <a:p>
          <a:r>
            <a:rPr lang="en-US" sz="2400" dirty="0">
              <a:latin typeface="Calibri"/>
              <a:ea typeface="Calibri"/>
              <a:cs typeface="Calibri"/>
            </a:rPr>
            <a:t>Poorly coordinated transition</a:t>
          </a:r>
          <a:endParaRPr lang="en-US" sz="2400" dirty="0"/>
        </a:p>
      </dgm:t>
    </dgm:pt>
    <dgm:pt modelId="{84B35685-7B3F-4743-9BCE-296DBF898D80}" type="parTrans" cxnId="{698717D0-57C5-4D5B-A572-ABFA5C20EB68}">
      <dgm:prSet/>
      <dgm:spPr/>
    </dgm:pt>
    <dgm:pt modelId="{4D1533A0-9C05-4282-A4A8-A4DF7369373D}" type="sibTrans" cxnId="{698717D0-57C5-4D5B-A572-ABFA5C20EB68}">
      <dgm:prSet/>
      <dgm:spPr/>
    </dgm:pt>
    <dgm:pt modelId="{1ECC13E9-835A-4712-9D33-FC93369121A2}">
      <dgm:prSet phldr="0"/>
      <dgm:spPr/>
      <dgm:t>
        <a:bodyPr/>
        <a:lstStyle/>
        <a:p>
          <a:pPr rtl="0"/>
          <a:r>
            <a:rPr lang="en-US" sz="2400" dirty="0">
              <a:solidFill>
                <a:schemeClr val="bg1"/>
              </a:solidFill>
              <a:latin typeface="Calibri"/>
              <a:ea typeface="Calibri"/>
              <a:cs typeface="Calibri"/>
            </a:rPr>
            <a:t>Guidelines (i.e., ADA and ISPAD) emphasize a planned transition process</a:t>
          </a:r>
          <a:endParaRPr lang="en-US" sz="2400" dirty="0"/>
        </a:p>
      </dgm:t>
    </dgm:pt>
    <dgm:pt modelId="{289175C0-4FBE-470C-A0C1-847B7AE5DFD0}" type="parTrans" cxnId="{C49885FE-660E-475A-A647-B6875FD23086}">
      <dgm:prSet/>
      <dgm:spPr/>
    </dgm:pt>
    <dgm:pt modelId="{0FCEA019-F95D-43CB-A3CA-106FBA3F2B09}" type="sibTrans" cxnId="{C49885FE-660E-475A-A647-B6875FD23086}">
      <dgm:prSet/>
      <dgm:spPr/>
    </dgm:pt>
    <dgm:pt modelId="{C5C8B9DF-1FBA-463F-B545-29D7F1D42513}">
      <dgm:prSet phldr="0"/>
      <dgm:spPr/>
      <dgm:t>
        <a:bodyPr/>
        <a:lstStyle/>
        <a:p>
          <a:pPr rtl="0"/>
          <a:r>
            <a:rPr lang="en-US" sz="2000" dirty="0">
              <a:solidFill>
                <a:schemeClr val="tx1"/>
              </a:solidFill>
              <a:latin typeface="Calibri"/>
              <a:ea typeface="Calibri"/>
              <a:cs typeface="Calibri"/>
            </a:rPr>
            <a:t>Highlighting the need for structured education and preparation</a:t>
          </a:r>
        </a:p>
      </dgm:t>
    </dgm:pt>
    <dgm:pt modelId="{E8DE961E-3F04-4345-BBB2-48F18E006CD1}" type="parTrans" cxnId="{47521948-F93E-4C8F-8789-C6AE9842C0BE}">
      <dgm:prSet/>
      <dgm:spPr/>
    </dgm:pt>
    <dgm:pt modelId="{1EE40E12-CA2E-4117-87A7-72AB1E0CD908}" type="sibTrans" cxnId="{47521948-F93E-4C8F-8789-C6AE9842C0BE}">
      <dgm:prSet/>
      <dgm:spPr/>
    </dgm:pt>
    <dgm:pt modelId="{5D2E7A60-54E0-48C5-A1D8-CB8A72FB416E}" type="pres">
      <dgm:prSet presAssocID="{06611F62-CA8B-41E6-BEC3-9C4FB8E30AFB}" presName="linear" presStyleCnt="0">
        <dgm:presLayoutVars>
          <dgm:animLvl val="lvl"/>
          <dgm:resizeHandles val="exact"/>
        </dgm:presLayoutVars>
      </dgm:prSet>
      <dgm:spPr/>
    </dgm:pt>
    <dgm:pt modelId="{949426E9-4236-402A-98BF-11E2D7B63DD3}" type="pres">
      <dgm:prSet presAssocID="{943020E2-4A40-4EC6-BE9B-F7B74D455D48}" presName="parentText" presStyleLbl="node1" presStyleIdx="0" presStyleCnt="3">
        <dgm:presLayoutVars>
          <dgm:chMax val="0"/>
          <dgm:bulletEnabled val="1"/>
        </dgm:presLayoutVars>
      </dgm:prSet>
      <dgm:spPr/>
    </dgm:pt>
    <dgm:pt modelId="{C7D0DBD5-09DF-446D-8696-4A1882A8951E}" type="pres">
      <dgm:prSet presAssocID="{943020E2-4A40-4EC6-BE9B-F7B74D455D48}" presName="childText" presStyleLbl="revTx" presStyleIdx="0" presStyleCnt="3">
        <dgm:presLayoutVars>
          <dgm:bulletEnabled val="1"/>
        </dgm:presLayoutVars>
      </dgm:prSet>
      <dgm:spPr/>
    </dgm:pt>
    <dgm:pt modelId="{93DADB74-4D8F-4771-BE2C-457BFB4D13C0}" type="pres">
      <dgm:prSet presAssocID="{C7B25AAE-C464-4744-A3C2-55B66109DFBF}" presName="parentText" presStyleLbl="node1" presStyleIdx="1" presStyleCnt="3">
        <dgm:presLayoutVars>
          <dgm:chMax val="0"/>
          <dgm:bulletEnabled val="1"/>
        </dgm:presLayoutVars>
      </dgm:prSet>
      <dgm:spPr/>
    </dgm:pt>
    <dgm:pt modelId="{BBA85F17-A1E4-4BDC-8E36-4B8E52669CB6}" type="pres">
      <dgm:prSet presAssocID="{C7B25AAE-C464-4744-A3C2-55B66109DFBF}" presName="childText" presStyleLbl="revTx" presStyleIdx="1" presStyleCnt="3">
        <dgm:presLayoutVars>
          <dgm:bulletEnabled val="1"/>
        </dgm:presLayoutVars>
      </dgm:prSet>
      <dgm:spPr/>
    </dgm:pt>
    <dgm:pt modelId="{1EF534D5-3F59-4F74-8425-B82DC1B40FEC}" type="pres">
      <dgm:prSet presAssocID="{1ECC13E9-835A-4712-9D33-FC93369121A2}" presName="parentText" presStyleLbl="node1" presStyleIdx="2" presStyleCnt="3">
        <dgm:presLayoutVars>
          <dgm:chMax val="0"/>
          <dgm:bulletEnabled val="1"/>
        </dgm:presLayoutVars>
      </dgm:prSet>
      <dgm:spPr/>
    </dgm:pt>
    <dgm:pt modelId="{A00955BE-18B2-47D7-8B98-8FBD9567A5F1}" type="pres">
      <dgm:prSet presAssocID="{1ECC13E9-835A-4712-9D33-FC93369121A2}" presName="childText" presStyleLbl="revTx" presStyleIdx="2" presStyleCnt="3">
        <dgm:presLayoutVars>
          <dgm:bulletEnabled val="1"/>
        </dgm:presLayoutVars>
      </dgm:prSet>
      <dgm:spPr/>
    </dgm:pt>
  </dgm:ptLst>
  <dgm:cxnLst>
    <dgm:cxn modelId="{DFC31F1C-115B-4A44-936E-955289695721}" type="presOf" srcId="{E5FD9822-8978-4808-844A-A80334B3DDAF}" destId="{C7D0DBD5-09DF-446D-8696-4A1882A8951E}" srcOrd="0" destOrd="0" presId="urn:microsoft.com/office/officeart/2005/8/layout/vList2"/>
    <dgm:cxn modelId="{7653AC1E-6A55-48E5-B5AB-B129EA2324D1}" srcId="{C7B25AAE-C464-4744-A3C2-55B66109DFBF}" destId="{A03C78D6-2F90-45AC-9281-22B95E5A702F}" srcOrd="1" destOrd="0" parTransId="{6BE9C27E-C1FC-42FB-AD6B-7AE87AB489E5}" sibTransId="{817183D9-4B15-4D7C-886C-02DF5C2F8133}"/>
    <dgm:cxn modelId="{1473D439-4CD7-4515-B12D-DD4CBA1B47C3}" type="presOf" srcId="{943020E2-4A40-4EC6-BE9B-F7B74D455D48}" destId="{949426E9-4236-402A-98BF-11E2D7B63DD3}" srcOrd="0" destOrd="0" presId="urn:microsoft.com/office/officeart/2005/8/layout/vList2"/>
    <dgm:cxn modelId="{EFA40D5F-8CC2-45E7-9E08-DCBEE9D81D2C}" type="presOf" srcId="{C5C8B9DF-1FBA-463F-B545-29D7F1D42513}" destId="{A00955BE-18B2-47D7-8B98-8FBD9567A5F1}" srcOrd="0" destOrd="0" presId="urn:microsoft.com/office/officeart/2005/8/layout/vList2"/>
    <dgm:cxn modelId="{4449E541-41D4-48AC-9BAF-E5510F89CA2B}" type="presOf" srcId="{06611F62-CA8B-41E6-BEC3-9C4FB8E30AFB}" destId="{5D2E7A60-54E0-48C5-A1D8-CB8A72FB416E}" srcOrd="0" destOrd="0" presId="urn:microsoft.com/office/officeart/2005/8/layout/vList2"/>
    <dgm:cxn modelId="{47521948-F93E-4C8F-8789-C6AE9842C0BE}" srcId="{1ECC13E9-835A-4712-9D33-FC93369121A2}" destId="{C5C8B9DF-1FBA-463F-B545-29D7F1D42513}" srcOrd="0" destOrd="0" parTransId="{E8DE961E-3F04-4345-BBB2-48F18E006CD1}" sibTransId="{1EE40E12-CA2E-4117-87A7-72AB1E0CD908}"/>
    <dgm:cxn modelId="{157AE249-E51C-4CB3-9973-9F7E2B5A7F94}" srcId="{C7B25AAE-C464-4744-A3C2-55B66109DFBF}" destId="{32D4AA8D-BFC7-47F1-ACFD-1670C7B5ED99}" srcOrd="0" destOrd="0" parTransId="{80D7D46A-A707-4B14-8BB2-5E2478CAD98B}" sibTransId="{528D0118-ACE4-4536-A498-E60266ABC5BD}"/>
    <dgm:cxn modelId="{FEB10F82-04DA-4D00-A6BB-2CB915D2B4D6}" type="presOf" srcId="{C7B25AAE-C464-4744-A3C2-55B66109DFBF}" destId="{93DADB74-4D8F-4771-BE2C-457BFB4D13C0}" srcOrd="0" destOrd="0" presId="urn:microsoft.com/office/officeart/2005/8/layout/vList2"/>
    <dgm:cxn modelId="{A40E2685-3B08-4C56-85EB-A09ED87489FB}" srcId="{943020E2-4A40-4EC6-BE9B-F7B74D455D48}" destId="{E5FD9822-8978-4808-844A-A80334B3DDAF}" srcOrd="0" destOrd="0" parTransId="{41968B29-AD93-49BD-AADA-AFAA295C2D65}" sibTransId="{EF5527E5-4C6B-4C32-BC25-66B6125305B6}"/>
    <dgm:cxn modelId="{9F0C9588-ACAA-4792-8A0B-74418492EA22}" type="presOf" srcId="{ED2BB6B2-255B-4EE6-BB81-41CEE345D04D}" destId="{C7D0DBD5-09DF-446D-8696-4A1882A8951E}" srcOrd="0" destOrd="1" presId="urn:microsoft.com/office/officeart/2005/8/layout/vList2"/>
    <dgm:cxn modelId="{A4AF5E91-080B-413F-96CB-1985DC0DFC3F}" type="presOf" srcId="{BDA5124E-76EA-479F-8C18-9BFC78886B37}" destId="{BBA85F17-A1E4-4BDC-8E36-4B8E52669CB6}" srcOrd="0" destOrd="2" presId="urn:microsoft.com/office/officeart/2005/8/layout/vList2"/>
    <dgm:cxn modelId="{02ECAC98-D02D-4DEC-A7CD-7F7A952E566B}" type="presOf" srcId="{1ECC13E9-835A-4712-9D33-FC93369121A2}" destId="{1EF534D5-3F59-4F74-8425-B82DC1B40FEC}" srcOrd="0" destOrd="0" presId="urn:microsoft.com/office/officeart/2005/8/layout/vList2"/>
    <dgm:cxn modelId="{1AE953AC-BCEC-4EC4-BB52-62DDE9D587EB}" srcId="{943020E2-4A40-4EC6-BE9B-F7B74D455D48}" destId="{ED2BB6B2-255B-4EE6-BB81-41CEE345D04D}" srcOrd="1" destOrd="0" parTransId="{FF176AD7-5A4E-4FC0-9DF8-9FBCE414FCDE}" sibTransId="{170BBA49-8DE6-4B08-98EF-911FECF8ECEB}"/>
    <dgm:cxn modelId="{709409BE-65A2-468D-A6D9-A54710AE5F0D}" srcId="{06611F62-CA8B-41E6-BEC3-9C4FB8E30AFB}" destId="{943020E2-4A40-4EC6-BE9B-F7B74D455D48}" srcOrd="0" destOrd="0" parTransId="{CA0CB5AB-2D97-45CC-9804-9DE940AA256F}" sibTransId="{D4BECD0A-02AC-460F-9EA5-29DB72680ABF}"/>
    <dgm:cxn modelId="{698717D0-57C5-4D5B-A572-ABFA5C20EB68}" srcId="{06611F62-CA8B-41E6-BEC3-9C4FB8E30AFB}" destId="{C7B25AAE-C464-4744-A3C2-55B66109DFBF}" srcOrd="1" destOrd="0" parTransId="{84B35685-7B3F-4743-9BCE-296DBF898D80}" sibTransId="{4D1533A0-9C05-4282-A4A8-A4DF7369373D}"/>
    <dgm:cxn modelId="{F0C20ADC-C36D-43AB-B5C0-2D55BE3C7E16}" type="presOf" srcId="{A03C78D6-2F90-45AC-9281-22B95E5A702F}" destId="{BBA85F17-A1E4-4BDC-8E36-4B8E52669CB6}" srcOrd="0" destOrd="1" presId="urn:microsoft.com/office/officeart/2005/8/layout/vList2"/>
    <dgm:cxn modelId="{6621E5E5-B134-46FD-BAFC-96A5249DDB99}" srcId="{C7B25AAE-C464-4744-A3C2-55B66109DFBF}" destId="{BDA5124E-76EA-479F-8C18-9BFC78886B37}" srcOrd="2" destOrd="0" parTransId="{D0B5ED6B-6473-4B79-87B5-356FFA2B56E1}" sibTransId="{F8CCA29D-9A01-451C-AC35-980060D84721}"/>
    <dgm:cxn modelId="{14284FF2-41B4-4F86-BD60-A91037CB3460}" type="presOf" srcId="{32D4AA8D-BFC7-47F1-ACFD-1670C7B5ED99}" destId="{BBA85F17-A1E4-4BDC-8E36-4B8E52669CB6}" srcOrd="0" destOrd="0" presId="urn:microsoft.com/office/officeart/2005/8/layout/vList2"/>
    <dgm:cxn modelId="{C49885FE-660E-475A-A647-B6875FD23086}" srcId="{06611F62-CA8B-41E6-BEC3-9C4FB8E30AFB}" destId="{1ECC13E9-835A-4712-9D33-FC93369121A2}" srcOrd="2" destOrd="0" parTransId="{289175C0-4FBE-470C-A0C1-847B7AE5DFD0}" sibTransId="{0FCEA019-F95D-43CB-A3CA-106FBA3F2B09}"/>
    <dgm:cxn modelId="{3138FF85-61C0-4ED0-A22E-9352FBC127E8}" type="presParOf" srcId="{5D2E7A60-54E0-48C5-A1D8-CB8A72FB416E}" destId="{949426E9-4236-402A-98BF-11E2D7B63DD3}" srcOrd="0" destOrd="0" presId="urn:microsoft.com/office/officeart/2005/8/layout/vList2"/>
    <dgm:cxn modelId="{BC18B08B-C6B3-416C-A520-8B6B040B867E}" type="presParOf" srcId="{5D2E7A60-54E0-48C5-A1D8-CB8A72FB416E}" destId="{C7D0DBD5-09DF-446D-8696-4A1882A8951E}" srcOrd="1" destOrd="0" presId="urn:microsoft.com/office/officeart/2005/8/layout/vList2"/>
    <dgm:cxn modelId="{06953B2A-C177-4DA6-9F20-C327B8B11039}" type="presParOf" srcId="{5D2E7A60-54E0-48C5-A1D8-CB8A72FB416E}" destId="{93DADB74-4D8F-4771-BE2C-457BFB4D13C0}" srcOrd="2" destOrd="0" presId="urn:microsoft.com/office/officeart/2005/8/layout/vList2"/>
    <dgm:cxn modelId="{2F141DC5-5329-49EE-8D43-1629B6DEAB02}" type="presParOf" srcId="{5D2E7A60-54E0-48C5-A1D8-CB8A72FB416E}" destId="{BBA85F17-A1E4-4BDC-8E36-4B8E52669CB6}" srcOrd="3" destOrd="0" presId="urn:microsoft.com/office/officeart/2005/8/layout/vList2"/>
    <dgm:cxn modelId="{8C086530-C202-45A7-845D-9F72D24B8280}" type="presParOf" srcId="{5D2E7A60-54E0-48C5-A1D8-CB8A72FB416E}" destId="{1EF534D5-3F59-4F74-8425-B82DC1B40FEC}" srcOrd="4" destOrd="0" presId="urn:microsoft.com/office/officeart/2005/8/layout/vList2"/>
    <dgm:cxn modelId="{FCE75E4B-480F-487A-A4EC-E76DC649E556}" type="presParOf" srcId="{5D2E7A60-54E0-48C5-A1D8-CB8A72FB416E}" destId="{A00955BE-18B2-47D7-8B98-8FBD9567A5F1}"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D3F9B7-B5FC-4F0E-B811-DCFB8699E0A3}" type="doc">
      <dgm:prSet loTypeId="urn:microsoft.com/office/officeart/2016/7/layout/AccentHomeChevronProcess" loCatId="timeline" qsTypeId="urn:microsoft.com/office/officeart/2005/8/quickstyle/simple1" qsCatId="simple" csTypeId="urn:microsoft.com/office/officeart/2005/8/colors/colorful3" csCatId="colorful" phldr="1"/>
      <dgm:spPr/>
      <dgm:t>
        <a:bodyPr/>
        <a:lstStyle/>
        <a:p>
          <a:endParaRPr lang="en-US"/>
        </a:p>
      </dgm:t>
    </dgm:pt>
    <dgm:pt modelId="{04F9F7E8-104B-43EB-892F-30CC5242C766}">
      <dgm:prSet custT="1"/>
      <dgm:spPr/>
      <dgm:t>
        <a:bodyPr/>
        <a:lstStyle/>
        <a:p>
          <a:pPr algn="l">
            <a:lnSpc>
              <a:spcPct val="90000"/>
            </a:lnSpc>
            <a:defRPr b="1"/>
          </a:pPr>
          <a:r>
            <a:rPr lang="en-US" sz="1800" b="1" dirty="0">
              <a:latin typeface="Calibri"/>
              <a:ea typeface="+mn-ea"/>
              <a:cs typeface="+mn-cs"/>
            </a:rPr>
            <a:t>Nov 2023</a:t>
          </a:r>
        </a:p>
      </dgm:t>
    </dgm:pt>
    <dgm:pt modelId="{4D5F8CC8-F32E-43AD-9A1E-925DFC19CAA7}" type="parTrans" cxnId="{F25E05A8-1B0A-431C-9D33-673419636343}">
      <dgm:prSet/>
      <dgm:spPr/>
      <dgm:t>
        <a:bodyPr/>
        <a:lstStyle/>
        <a:p>
          <a:endParaRPr lang="en-US"/>
        </a:p>
      </dgm:t>
    </dgm:pt>
    <dgm:pt modelId="{191F4D63-BDA3-4FEF-B87E-07B08E262A82}" type="sibTrans" cxnId="{F25E05A8-1B0A-431C-9D33-673419636343}">
      <dgm:prSet/>
      <dgm:spPr/>
      <dgm:t>
        <a:bodyPr/>
        <a:lstStyle/>
        <a:p>
          <a:endParaRPr lang="en-US"/>
        </a:p>
      </dgm:t>
    </dgm:pt>
    <dgm:pt modelId="{6A471025-E5DF-4BEC-B399-F0449BC9EC77}">
      <dgm:prSet custT="1"/>
      <dgm:spPr/>
      <dgm:t>
        <a:bodyPr/>
        <a:lstStyle/>
        <a:p>
          <a:pPr algn="l" rtl="0">
            <a:lnSpc>
              <a:spcPct val="90000"/>
            </a:lnSpc>
          </a:pPr>
          <a:r>
            <a:rPr lang="en-US" sz="1400" b="1" dirty="0">
              <a:latin typeface="Calibri"/>
              <a:ea typeface="+mn-ea"/>
              <a:cs typeface="+mn-cs"/>
            </a:rPr>
            <a:t>Implemented a transitions policy with transition curriculum</a:t>
          </a:r>
        </a:p>
      </dgm:t>
    </dgm:pt>
    <dgm:pt modelId="{ED8E1055-EF63-4D45-BCC3-84BAEE630750}" type="parTrans" cxnId="{A97440A8-F60E-4C1F-8BC7-6D13CDE43CB9}">
      <dgm:prSet/>
      <dgm:spPr/>
      <dgm:t>
        <a:bodyPr/>
        <a:lstStyle/>
        <a:p>
          <a:endParaRPr lang="en-US"/>
        </a:p>
      </dgm:t>
    </dgm:pt>
    <dgm:pt modelId="{A1B23BDB-1602-45FD-9052-32BAB6BB46B2}" type="sibTrans" cxnId="{A97440A8-F60E-4C1F-8BC7-6D13CDE43CB9}">
      <dgm:prSet/>
      <dgm:spPr/>
      <dgm:t>
        <a:bodyPr/>
        <a:lstStyle/>
        <a:p>
          <a:endParaRPr lang="en-US"/>
        </a:p>
      </dgm:t>
    </dgm:pt>
    <dgm:pt modelId="{65616B0A-2C85-4EC4-8D9B-225DCF3AB237}">
      <dgm:prSet/>
      <dgm:spPr/>
      <dgm:t>
        <a:bodyPr/>
        <a:lstStyle/>
        <a:p>
          <a:pPr algn="l" rtl="0">
            <a:lnSpc>
              <a:spcPct val="90000"/>
            </a:lnSpc>
          </a:pPr>
          <a:r>
            <a:rPr lang="en-US" sz="1400" b="1" dirty="0">
              <a:latin typeface="Calibri"/>
              <a:ea typeface="+mn-ea"/>
              <a:cs typeface="+mn-cs"/>
            </a:rPr>
            <a:t>Integrated EMR tools including provider flowsheet with anticipated transition date &amp; education topics</a:t>
          </a:r>
        </a:p>
      </dgm:t>
    </dgm:pt>
    <dgm:pt modelId="{0C1D4D64-D601-4B31-AC0A-77EE32BA5DB9}" type="parTrans" cxnId="{6FA4CE3E-BBCD-4902-B8F0-378939E12E34}">
      <dgm:prSet/>
      <dgm:spPr/>
      <dgm:t>
        <a:bodyPr/>
        <a:lstStyle/>
        <a:p>
          <a:endParaRPr lang="en-US"/>
        </a:p>
      </dgm:t>
    </dgm:pt>
    <dgm:pt modelId="{6620890A-6508-4AE8-8C68-FFC27D0BF03F}" type="sibTrans" cxnId="{6FA4CE3E-BBCD-4902-B8F0-378939E12E34}">
      <dgm:prSet/>
      <dgm:spPr/>
      <dgm:t>
        <a:bodyPr/>
        <a:lstStyle/>
        <a:p>
          <a:endParaRPr lang="en-US"/>
        </a:p>
      </dgm:t>
    </dgm:pt>
    <dgm:pt modelId="{6E624734-8B3F-4A26-9D3B-5ED97723AA76}">
      <dgm:prSet custT="1"/>
      <dgm:spPr/>
      <dgm:t>
        <a:bodyPr/>
        <a:lstStyle/>
        <a:p>
          <a:pPr algn="l">
            <a:lnSpc>
              <a:spcPct val="90000"/>
            </a:lnSpc>
            <a:defRPr b="1"/>
          </a:pPr>
          <a:r>
            <a:rPr lang="en-US" sz="1800" dirty="0">
              <a:latin typeface="Calibri"/>
              <a:ea typeface="+mn-ea"/>
              <a:cs typeface="+mn-cs"/>
            </a:rPr>
            <a:t>Jan 2024</a:t>
          </a:r>
        </a:p>
      </dgm:t>
    </dgm:pt>
    <dgm:pt modelId="{4EC1E088-7F9B-48F7-8480-5C473FC588CE}" type="parTrans" cxnId="{BCE98A6A-2E13-4CCB-8FA4-6879995C6A44}">
      <dgm:prSet/>
      <dgm:spPr/>
      <dgm:t>
        <a:bodyPr/>
        <a:lstStyle/>
        <a:p>
          <a:endParaRPr lang="en-US"/>
        </a:p>
      </dgm:t>
    </dgm:pt>
    <dgm:pt modelId="{8CE209F1-FACC-44E7-9310-F8CEE14043C5}" type="sibTrans" cxnId="{BCE98A6A-2E13-4CCB-8FA4-6879995C6A44}">
      <dgm:prSet/>
      <dgm:spPr/>
      <dgm:t>
        <a:bodyPr/>
        <a:lstStyle/>
        <a:p>
          <a:endParaRPr lang="en-US"/>
        </a:p>
      </dgm:t>
    </dgm:pt>
    <dgm:pt modelId="{97F6C511-C2D0-4D4A-B5C3-F76D64458540}">
      <dgm:prSet custT="1"/>
      <dgm:spPr/>
      <dgm:t>
        <a:bodyPr/>
        <a:lstStyle/>
        <a:p>
          <a:pPr algn="l" rtl="0">
            <a:lnSpc>
              <a:spcPct val="90000"/>
            </a:lnSpc>
          </a:pPr>
          <a:r>
            <a:rPr lang="en-US" sz="1400" b="1" dirty="0">
              <a:latin typeface="Calibri"/>
              <a:ea typeface="+mn-ea"/>
              <a:cs typeface="+mn-cs"/>
            </a:rPr>
            <a:t>Defined transition tasks for each member of the diabetes care team (i.e., provider, CDCES, social worker)</a:t>
          </a:r>
        </a:p>
      </dgm:t>
    </dgm:pt>
    <dgm:pt modelId="{4F9A3E74-5EFC-4394-9663-560D9777C57D}" type="parTrans" cxnId="{8DBDDA2C-5B25-45EB-9E7B-84BCA629914F}">
      <dgm:prSet/>
      <dgm:spPr/>
      <dgm:t>
        <a:bodyPr/>
        <a:lstStyle/>
        <a:p>
          <a:endParaRPr lang="en-US"/>
        </a:p>
      </dgm:t>
    </dgm:pt>
    <dgm:pt modelId="{B8DBD120-57A9-48A9-9F12-F0E9D666E0AB}" type="sibTrans" cxnId="{8DBDDA2C-5B25-45EB-9E7B-84BCA629914F}">
      <dgm:prSet/>
      <dgm:spPr/>
      <dgm:t>
        <a:bodyPr/>
        <a:lstStyle/>
        <a:p>
          <a:endParaRPr lang="en-US"/>
        </a:p>
      </dgm:t>
    </dgm:pt>
    <dgm:pt modelId="{CF371996-D74F-4700-AE1C-5B071F00C3CA}" type="pres">
      <dgm:prSet presAssocID="{F4D3F9B7-B5FC-4F0E-B811-DCFB8699E0A3}" presName="Name0" presStyleCnt="0">
        <dgm:presLayoutVars>
          <dgm:animLvl val="lvl"/>
          <dgm:resizeHandles val="exact"/>
        </dgm:presLayoutVars>
      </dgm:prSet>
      <dgm:spPr/>
    </dgm:pt>
    <dgm:pt modelId="{ADFC5469-B5BE-4B21-BD27-ADA2E7F74CE9}" type="pres">
      <dgm:prSet presAssocID="{04F9F7E8-104B-43EB-892F-30CC5242C766}" presName="composite" presStyleCnt="0"/>
      <dgm:spPr/>
    </dgm:pt>
    <dgm:pt modelId="{8B739627-4C0F-4FF3-B5B2-8662ED1FCF95}" type="pres">
      <dgm:prSet presAssocID="{04F9F7E8-104B-43EB-892F-30CC5242C766}" presName="L" presStyleLbl="solidFgAcc1" presStyleIdx="0" presStyleCnt="2">
        <dgm:presLayoutVars>
          <dgm:chMax val="0"/>
          <dgm:chPref val="0"/>
        </dgm:presLayoutVars>
      </dgm:prSet>
      <dgm:spPr/>
    </dgm:pt>
    <dgm:pt modelId="{A1BFD19E-013F-425F-9E1D-B8D9E2D547D4}" type="pres">
      <dgm:prSet presAssocID="{04F9F7E8-104B-43EB-892F-30CC5242C766}" presName="parTx" presStyleLbl="alignNode1" presStyleIdx="0" presStyleCnt="2">
        <dgm:presLayoutVars>
          <dgm:chMax val="0"/>
          <dgm:chPref val="0"/>
          <dgm:bulletEnabled val="1"/>
        </dgm:presLayoutVars>
      </dgm:prSet>
      <dgm:spPr/>
    </dgm:pt>
    <dgm:pt modelId="{55B948EC-5D29-469C-90DD-A346A63BEB1F}" type="pres">
      <dgm:prSet presAssocID="{04F9F7E8-104B-43EB-892F-30CC5242C766}" presName="desTx" presStyleLbl="revTx" presStyleIdx="0" presStyleCnt="2">
        <dgm:presLayoutVars>
          <dgm:chMax val="0"/>
          <dgm:chPref val="0"/>
          <dgm:bulletEnabled val="1"/>
        </dgm:presLayoutVars>
      </dgm:prSet>
      <dgm:spPr/>
    </dgm:pt>
    <dgm:pt modelId="{CDC0398B-4E4D-458C-8026-927EE342652A}" type="pres">
      <dgm:prSet presAssocID="{04F9F7E8-104B-43EB-892F-30CC5242C766}" presName="EmptyPlaceHolder" presStyleCnt="0"/>
      <dgm:spPr/>
    </dgm:pt>
    <dgm:pt modelId="{4C73DC1B-982F-4821-A091-D6C2CAB1CAED}" type="pres">
      <dgm:prSet presAssocID="{191F4D63-BDA3-4FEF-B87E-07B08E262A82}" presName="space" presStyleCnt="0"/>
      <dgm:spPr/>
    </dgm:pt>
    <dgm:pt modelId="{9F5028DB-B07B-421C-B6C9-727306F2C24F}" type="pres">
      <dgm:prSet presAssocID="{6E624734-8B3F-4A26-9D3B-5ED97723AA76}" presName="composite" presStyleCnt="0"/>
      <dgm:spPr/>
    </dgm:pt>
    <dgm:pt modelId="{57802E43-64E3-4E0A-8705-B64768B24FCD}" type="pres">
      <dgm:prSet presAssocID="{6E624734-8B3F-4A26-9D3B-5ED97723AA76}" presName="L" presStyleLbl="solidFgAcc1" presStyleIdx="1" presStyleCnt="2">
        <dgm:presLayoutVars>
          <dgm:chMax val="0"/>
          <dgm:chPref val="0"/>
        </dgm:presLayoutVars>
      </dgm:prSet>
      <dgm:spPr/>
    </dgm:pt>
    <dgm:pt modelId="{2D152C46-05CA-4F0B-9FEE-E1D4734E2195}" type="pres">
      <dgm:prSet presAssocID="{6E624734-8B3F-4A26-9D3B-5ED97723AA76}" presName="parTx" presStyleLbl="alignNode1" presStyleIdx="1" presStyleCnt="2">
        <dgm:presLayoutVars>
          <dgm:chMax val="0"/>
          <dgm:chPref val="0"/>
          <dgm:bulletEnabled val="1"/>
        </dgm:presLayoutVars>
      </dgm:prSet>
      <dgm:spPr/>
    </dgm:pt>
    <dgm:pt modelId="{FBC96F52-3FAE-4931-A98C-8E44ADEE80AF}" type="pres">
      <dgm:prSet presAssocID="{6E624734-8B3F-4A26-9D3B-5ED97723AA76}" presName="desTx" presStyleLbl="revTx" presStyleIdx="1" presStyleCnt="2">
        <dgm:presLayoutVars>
          <dgm:chMax val="0"/>
          <dgm:chPref val="0"/>
          <dgm:bulletEnabled val="1"/>
        </dgm:presLayoutVars>
      </dgm:prSet>
      <dgm:spPr/>
    </dgm:pt>
    <dgm:pt modelId="{E9843675-78B2-461A-AF25-A5B4966631D8}" type="pres">
      <dgm:prSet presAssocID="{6E624734-8B3F-4A26-9D3B-5ED97723AA76}" presName="EmptyPlaceHolder" presStyleCnt="0"/>
      <dgm:spPr/>
    </dgm:pt>
  </dgm:ptLst>
  <dgm:cxnLst>
    <dgm:cxn modelId="{8DBDDA2C-5B25-45EB-9E7B-84BCA629914F}" srcId="{6E624734-8B3F-4A26-9D3B-5ED97723AA76}" destId="{97F6C511-C2D0-4D4A-B5C3-F76D64458540}" srcOrd="0" destOrd="0" parTransId="{4F9A3E74-5EFC-4394-9663-560D9777C57D}" sibTransId="{B8DBD120-57A9-48A9-9F12-F0E9D666E0AB}"/>
    <dgm:cxn modelId="{6FA4CE3E-BBCD-4902-B8F0-378939E12E34}" srcId="{04F9F7E8-104B-43EB-892F-30CC5242C766}" destId="{65616B0A-2C85-4EC4-8D9B-225DCF3AB237}" srcOrd="1" destOrd="0" parTransId="{0C1D4D64-D601-4B31-AC0A-77EE32BA5DB9}" sibTransId="{6620890A-6508-4AE8-8C68-FFC27D0BF03F}"/>
    <dgm:cxn modelId="{DBD38560-2988-44F3-8135-D1796FE1F9B4}" type="presOf" srcId="{97F6C511-C2D0-4D4A-B5C3-F76D64458540}" destId="{FBC96F52-3FAE-4931-A98C-8E44ADEE80AF}" srcOrd="0" destOrd="0" presId="urn:microsoft.com/office/officeart/2016/7/layout/AccentHomeChevronProcess"/>
    <dgm:cxn modelId="{BCE98A6A-2E13-4CCB-8FA4-6879995C6A44}" srcId="{F4D3F9B7-B5FC-4F0E-B811-DCFB8699E0A3}" destId="{6E624734-8B3F-4A26-9D3B-5ED97723AA76}" srcOrd="1" destOrd="0" parTransId="{4EC1E088-7F9B-48F7-8480-5C473FC588CE}" sibTransId="{8CE209F1-FACC-44E7-9310-F8CEE14043C5}"/>
    <dgm:cxn modelId="{CF78AE4E-57EE-4AE7-983A-2604ECECCC3A}" type="presOf" srcId="{6E624734-8B3F-4A26-9D3B-5ED97723AA76}" destId="{2D152C46-05CA-4F0B-9FEE-E1D4734E2195}" srcOrd="0" destOrd="0" presId="urn:microsoft.com/office/officeart/2016/7/layout/AccentHomeChevronProcess"/>
    <dgm:cxn modelId="{57D9FB7C-CF42-4A6C-907A-6B66F94B4329}" type="presOf" srcId="{6A471025-E5DF-4BEC-B399-F0449BC9EC77}" destId="{55B948EC-5D29-469C-90DD-A346A63BEB1F}" srcOrd="0" destOrd="0" presId="urn:microsoft.com/office/officeart/2016/7/layout/AccentHomeChevronProcess"/>
    <dgm:cxn modelId="{A433DE9A-E12E-40EF-8B93-5004C75D336D}" type="presOf" srcId="{04F9F7E8-104B-43EB-892F-30CC5242C766}" destId="{A1BFD19E-013F-425F-9E1D-B8D9E2D547D4}" srcOrd="0" destOrd="0" presId="urn:microsoft.com/office/officeart/2016/7/layout/AccentHomeChevronProcess"/>
    <dgm:cxn modelId="{F25E05A8-1B0A-431C-9D33-673419636343}" srcId="{F4D3F9B7-B5FC-4F0E-B811-DCFB8699E0A3}" destId="{04F9F7E8-104B-43EB-892F-30CC5242C766}" srcOrd="0" destOrd="0" parTransId="{4D5F8CC8-F32E-43AD-9A1E-925DFC19CAA7}" sibTransId="{191F4D63-BDA3-4FEF-B87E-07B08E262A82}"/>
    <dgm:cxn modelId="{A97440A8-F60E-4C1F-8BC7-6D13CDE43CB9}" srcId="{04F9F7E8-104B-43EB-892F-30CC5242C766}" destId="{6A471025-E5DF-4BEC-B399-F0449BC9EC77}" srcOrd="0" destOrd="0" parTransId="{ED8E1055-EF63-4D45-BCC3-84BAEE630750}" sibTransId="{A1B23BDB-1602-45FD-9052-32BAB6BB46B2}"/>
    <dgm:cxn modelId="{920311E2-C129-4825-BDDD-5B1762A588D8}" type="presOf" srcId="{F4D3F9B7-B5FC-4F0E-B811-DCFB8699E0A3}" destId="{CF371996-D74F-4700-AE1C-5B071F00C3CA}" srcOrd="0" destOrd="0" presId="urn:microsoft.com/office/officeart/2016/7/layout/AccentHomeChevronProcess"/>
    <dgm:cxn modelId="{6F983BE8-3E99-4350-BBCE-DF3542144330}" type="presOf" srcId="{65616B0A-2C85-4EC4-8D9B-225DCF3AB237}" destId="{55B948EC-5D29-469C-90DD-A346A63BEB1F}" srcOrd="0" destOrd="1" presId="urn:microsoft.com/office/officeart/2016/7/layout/AccentHomeChevronProcess"/>
    <dgm:cxn modelId="{D11E6376-CA02-4F17-90D6-274D3912DCBA}" type="presParOf" srcId="{CF371996-D74F-4700-AE1C-5B071F00C3CA}" destId="{ADFC5469-B5BE-4B21-BD27-ADA2E7F74CE9}" srcOrd="0" destOrd="0" presId="urn:microsoft.com/office/officeart/2016/7/layout/AccentHomeChevronProcess"/>
    <dgm:cxn modelId="{5D76EE06-A86C-41B7-9AA9-60E661E4CC91}" type="presParOf" srcId="{ADFC5469-B5BE-4B21-BD27-ADA2E7F74CE9}" destId="{8B739627-4C0F-4FF3-B5B2-8662ED1FCF95}" srcOrd="0" destOrd="0" presId="urn:microsoft.com/office/officeart/2016/7/layout/AccentHomeChevronProcess"/>
    <dgm:cxn modelId="{26EE95CD-A822-4E63-978E-762412394CC2}" type="presParOf" srcId="{ADFC5469-B5BE-4B21-BD27-ADA2E7F74CE9}" destId="{A1BFD19E-013F-425F-9E1D-B8D9E2D547D4}" srcOrd="1" destOrd="0" presId="urn:microsoft.com/office/officeart/2016/7/layout/AccentHomeChevronProcess"/>
    <dgm:cxn modelId="{B3731B5D-FA16-40EF-B694-0E03956FFCA3}" type="presParOf" srcId="{ADFC5469-B5BE-4B21-BD27-ADA2E7F74CE9}" destId="{55B948EC-5D29-469C-90DD-A346A63BEB1F}" srcOrd="2" destOrd="0" presId="urn:microsoft.com/office/officeart/2016/7/layout/AccentHomeChevronProcess"/>
    <dgm:cxn modelId="{E343F0CF-E2BA-40B2-9716-6D8C4E57E938}" type="presParOf" srcId="{ADFC5469-B5BE-4B21-BD27-ADA2E7F74CE9}" destId="{CDC0398B-4E4D-458C-8026-927EE342652A}" srcOrd="3" destOrd="0" presId="urn:microsoft.com/office/officeart/2016/7/layout/AccentHomeChevronProcess"/>
    <dgm:cxn modelId="{C0E4EACC-0535-40FC-B79F-DACDB0F9631E}" type="presParOf" srcId="{CF371996-D74F-4700-AE1C-5B071F00C3CA}" destId="{4C73DC1B-982F-4821-A091-D6C2CAB1CAED}" srcOrd="1" destOrd="0" presId="urn:microsoft.com/office/officeart/2016/7/layout/AccentHomeChevronProcess"/>
    <dgm:cxn modelId="{84A291A4-B0D7-4DC6-B6BB-6224DDF04BD1}" type="presParOf" srcId="{CF371996-D74F-4700-AE1C-5B071F00C3CA}" destId="{9F5028DB-B07B-421C-B6C9-727306F2C24F}" srcOrd="2" destOrd="0" presId="urn:microsoft.com/office/officeart/2016/7/layout/AccentHomeChevronProcess"/>
    <dgm:cxn modelId="{F7FB2412-EBB2-4266-9CC0-1E9379433561}" type="presParOf" srcId="{9F5028DB-B07B-421C-B6C9-727306F2C24F}" destId="{57802E43-64E3-4E0A-8705-B64768B24FCD}" srcOrd="0" destOrd="0" presId="urn:microsoft.com/office/officeart/2016/7/layout/AccentHomeChevronProcess"/>
    <dgm:cxn modelId="{95B3DEBF-C861-4BAB-9B22-7C3E69FE95BC}" type="presParOf" srcId="{9F5028DB-B07B-421C-B6C9-727306F2C24F}" destId="{2D152C46-05CA-4F0B-9FEE-E1D4734E2195}" srcOrd="1" destOrd="0" presId="urn:microsoft.com/office/officeart/2016/7/layout/AccentHomeChevronProcess"/>
    <dgm:cxn modelId="{EAC72066-0349-4FB1-B8BA-88AC436EE1DD}" type="presParOf" srcId="{9F5028DB-B07B-421C-B6C9-727306F2C24F}" destId="{FBC96F52-3FAE-4931-A98C-8E44ADEE80AF}" srcOrd="2" destOrd="0" presId="urn:microsoft.com/office/officeart/2016/7/layout/AccentHomeChevronProcess"/>
    <dgm:cxn modelId="{CEEFDF2B-BCDE-4244-8129-AA75A9F6E30C}" type="presParOf" srcId="{9F5028DB-B07B-421C-B6C9-727306F2C24F}" destId="{E9843675-78B2-461A-AF25-A5B4966631D8}" srcOrd="3" destOrd="0" presId="urn:microsoft.com/office/officeart/2016/7/layout/AccentHomeChevron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4D3F9B7-B5FC-4F0E-B811-DCFB8699E0A3}" type="doc">
      <dgm:prSet loTypeId="urn:microsoft.com/office/officeart/2016/7/layout/AccentHomeChevronProcess" loCatId="timeline" qsTypeId="urn:microsoft.com/office/officeart/2005/8/quickstyle/simple1" qsCatId="simple" csTypeId="urn:microsoft.com/office/officeart/2005/8/colors/colorful3" csCatId="colorful" phldr="1"/>
      <dgm:spPr/>
      <dgm:t>
        <a:bodyPr/>
        <a:lstStyle/>
        <a:p>
          <a:endParaRPr lang="en-US"/>
        </a:p>
      </dgm:t>
    </dgm:pt>
    <dgm:pt modelId="{04F9F7E8-104B-43EB-892F-30CC5242C766}">
      <dgm:prSet custT="1"/>
      <dgm:spPr/>
      <dgm:t>
        <a:bodyPr/>
        <a:lstStyle/>
        <a:p>
          <a:pPr algn="l">
            <a:lnSpc>
              <a:spcPct val="90000"/>
            </a:lnSpc>
            <a:defRPr b="1"/>
          </a:pPr>
          <a:r>
            <a:rPr lang="en-US" sz="1800" b="1" dirty="0">
              <a:latin typeface="Calibri"/>
              <a:ea typeface="+mn-ea"/>
              <a:cs typeface="+mn-cs"/>
            </a:rPr>
            <a:t>Nov 2023</a:t>
          </a:r>
        </a:p>
      </dgm:t>
    </dgm:pt>
    <dgm:pt modelId="{4D5F8CC8-F32E-43AD-9A1E-925DFC19CAA7}" type="parTrans" cxnId="{F25E05A8-1B0A-431C-9D33-673419636343}">
      <dgm:prSet/>
      <dgm:spPr/>
      <dgm:t>
        <a:bodyPr/>
        <a:lstStyle/>
        <a:p>
          <a:endParaRPr lang="en-US"/>
        </a:p>
      </dgm:t>
    </dgm:pt>
    <dgm:pt modelId="{191F4D63-BDA3-4FEF-B87E-07B08E262A82}" type="sibTrans" cxnId="{F25E05A8-1B0A-431C-9D33-673419636343}">
      <dgm:prSet/>
      <dgm:spPr/>
      <dgm:t>
        <a:bodyPr/>
        <a:lstStyle/>
        <a:p>
          <a:endParaRPr lang="en-US"/>
        </a:p>
      </dgm:t>
    </dgm:pt>
    <dgm:pt modelId="{6A471025-E5DF-4BEC-B399-F0449BC9EC77}">
      <dgm:prSet custT="1"/>
      <dgm:spPr/>
      <dgm:t>
        <a:bodyPr/>
        <a:lstStyle/>
        <a:p>
          <a:pPr algn="l" rtl="0">
            <a:lnSpc>
              <a:spcPct val="90000"/>
            </a:lnSpc>
          </a:pPr>
          <a:r>
            <a:rPr lang="en-US" sz="1350" b="1" dirty="0">
              <a:latin typeface="Calibri"/>
              <a:ea typeface="+mn-ea"/>
              <a:cs typeface="+mn-cs"/>
            </a:rPr>
            <a:t>Implemented a transitions policy with transition curriculum</a:t>
          </a:r>
        </a:p>
      </dgm:t>
    </dgm:pt>
    <dgm:pt modelId="{ED8E1055-EF63-4D45-BCC3-84BAEE630750}" type="parTrans" cxnId="{A97440A8-F60E-4C1F-8BC7-6D13CDE43CB9}">
      <dgm:prSet/>
      <dgm:spPr/>
      <dgm:t>
        <a:bodyPr/>
        <a:lstStyle/>
        <a:p>
          <a:endParaRPr lang="en-US"/>
        </a:p>
      </dgm:t>
    </dgm:pt>
    <dgm:pt modelId="{A1B23BDB-1602-45FD-9052-32BAB6BB46B2}" type="sibTrans" cxnId="{A97440A8-F60E-4C1F-8BC7-6D13CDE43CB9}">
      <dgm:prSet/>
      <dgm:spPr/>
      <dgm:t>
        <a:bodyPr/>
        <a:lstStyle/>
        <a:p>
          <a:endParaRPr lang="en-US"/>
        </a:p>
      </dgm:t>
    </dgm:pt>
    <dgm:pt modelId="{65616B0A-2C85-4EC4-8D9B-225DCF3AB237}">
      <dgm:prSet/>
      <dgm:spPr/>
      <dgm:t>
        <a:bodyPr/>
        <a:lstStyle/>
        <a:p>
          <a:pPr algn="l" rtl="0">
            <a:lnSpc>
              <a:spcPct val="90000"/>
            </a:lnSpc>
          </a:pPr>
          <a:r>
            <a:rPr lang="en-US" sz="1350" b="1" dirty="0">
              <a:latin typeface="Calibri"/>
              <a:ea typeface="+mn-ea"/>
              <a:cs typeface="+mn-cs"/>
            </a:rPr>
            <a:t>Integrated EMR tools including provider flowsheet with anticipated transition date &amp; education topics</a:t>
          </a:r>
        </a:p>
      </dgm:t>
    </dgm:pt>
    <dgm:pt modelId="{0C1D4D64-D601-4B31-AC0A-77EE32BA5DB9}" type="parTrans" cxnId="{6FA4CE3E-BBCD-4902-B8F0-378939E12E34}">
      <dgm:prSet/>
      <dgm:spPr/>
      <dgm:t>
        <a:bodyPr/>
        <a:lstStyle/>
        <a:p>
          <a:endParaRPr lang="en-US"/>
        </a:p>
      </dgm:t>
    </dgm:pt>
    <dgm:pt modelId="{6620890A-6508-4AE8-8C68-FFC27D0BF03F}" type="sibTrans" cxnId="{6FA4CE3E-BBCD-4902-B8F0-378939E12E34}">
      <dgm:prSet/>
      <dgm:spPr/>
      <dgm:t>
        <a:bodyPr/>
        <a:lstStyle/>
        <a:p>
          <a:endParaRPr lang="en-US"/>
        </a:p>
      </dgm:t>
    </dgm:pt>
    <dgm:pt modelId="{6E624734-8B3F-4A26-9D3B-5ED97723AA76}">
      <dgm:prSet custT="1"/>
      <dgm:spPr/>
      <dgm:t>
        <a:bodyPr/>
        <a:lstStyle/>
        <a:p>
          <a:pPr algn="l">
            <a:lnSpc>
              <a:spcPct val="90000"/>
            </a:lnSpc>
            <a:defRPr b="1"/>
          </a:pPr>
          <a:r>
            <a:rPr lang="en-US" sz="1800" dirty="0">
              <a:latin typeface="Calibri"/>
              <a:ea typeface="+mn-ea"/>
              <a:cs typeface="+mn-cs"/>
            </a:rPr>
            <a:t>Jan 2024</a:t>
          </a:r>
        </a:p>
      </dgm:t>
    </dgm:pt>
    <dgm:pt modelId="{4EC1E088-7F9B-48F7-8480-5C473FC588CE}" type="parTrans" cxnId="{BCE98A6A-2E13-4CCB-8FA4-6879995C6A44}">
      <dgm:prSet/>
      <dgm:spPr/>
      <dgm:t>
        <a:bodyPr/>
        <a:lstStyle/>
        <a:p>
          <a:endParaRPr lang="en-US"/>
        </a:p>
      </dgm:t>
    </dgm:pt>
    <dgm:pt modelId="{8CE209F1-FACC-44E7-9310-F8CEE14043C5}" type="sibTrans" cxnId="{BCE98A6A-2E13-4CCB-8FA4-6879995C6A44}">
      <dgm:prSet/>
      <dgm:spPr/>
      <dgm:t>
        <a:bodyPr/>
        <a:lstStyle/>
        <a:p>
          <a:endParaRPr lang="en-US"/>
        </a:p>
      </dgm:t>
    </dgm:pt>
    <dgm:pt modelId="{97F6C511-C2D0-4D4A-B5C3-F76D64458540}">
      <dgm:prSet custT="1"/>
      <dgm:spPr/>
      <dgm:t>
        <a:bodyPr/>
        <a:lstStyle/>
        <a:p>
          <a:pPr algn="l" rtl="0">
            <a:lnSpc>
              <a:spcPct val="90000"/>
            </a:lnSpc>
          </a:pPr>
          <a:r>
            <a:rPr lang="en-US" sz="1400" b="1" dirty="0">
              <a:latin typeface="Calibri"/>
              <a:ea typeface="+mn-ea"/>
              <a:cs typeface="+mn-cs"/>
            </a:rPr>
            <a:t>Defined transition tasks for each member of the diabetes care team (i.e., provider, CDCES, social worker)</a:t>
          </a:r>
        </a:p>
      </dgm:t>
    </dgm:pt>
    <dgm:pt modelId="{4F9A3E74-5EFC-4394-9663-560D9777C57D}" type="parTrans" cxnId="{8DBDDA2C-5B25-45EB-9E7B-84BCA629914F}">
      <dgm:prSet/>
      <dgm:spPr/>
      <dgm:t>
        <a:bodyPr/>
        <a:lstStyle/>
        <a:p>
          <a:endParaRPr lang="en-US"/>
        </a:p>
      </dgm:t>
    </dgm:pt>
    <dgm:pt modelId="{B8DBD120-57A9-48A9-9F12-F0E9D666E0AB}" type="sibTrans" cxnId="{8DBDDA2C-5B25-45EB-9E7B-84BCA629914F}">
      <dgm:prSet/>
      <dgm:spPr/>
      <dgm:t>
        <a:bodyPr/>
        <a:lstStyle/>
        <a:p>
          <a:endParaRPr lang="en-US"/>
        </a:p>
      </dgm:t>
    </dgm:pt>
    <dgm:pt modelId="{9098B545-7E3A-49AA-94EE-B990F4E80ACE}">
      <dgm:prSet custT="1"/>
      <dgm:spPr/>
      <dgm:t>
        <a:bodyPr/>
        <a:lstStyle/>
        <a:p>
          <a:pPr algn="l">
            <a:lnSpc>
              <a:spcPct val="90000"/>
            </a:lnSpc>
            <a:defRPr b="1"/>
          </a:pPr>
          <a:r>
            <a:rPr lang="en-US" sz="1800" dirty="0">
              <a:latin typeface="Calibri"/>
              <a:ea typeface="+mn-ea"/>
              <a:cs typeface="+mn-cs"/>
            </a:rPr>
            <a:t>Feb 2024</a:t>
          </a:r>
        </a:p>
      </dgm:t>
    </dgm:pt>
    <dgm:pt modelId="{9A1860EC-A374-4894-AC34-CF618CBEDF4C}" type="parTrans" cxnId="{5274156B-180E-40AC-BCD2-93AC74CCC370}">
      <dgm:prSet/>
      <dgm:spPr/>
      <dgm:t>
        <a:bodyPr/>
        <a:lstStyle/>
        <a:p>
          <a:endParaRPr lang="en-US"/>
        </a:p>
      </dgm:t>
    </dgm:pt>
    <dgm:pt modelId="{EB1A53AF-AD34-43C9-9A57-031B9E277EEC}" type="sibTrans" cxnId="{5274156B-180E-40AC-BCD2-93AC74CCC370}">
      <dgm:prSet/>
      <dgm:spPr/>
      <dgm:t>
        <a:bodyPr/>
        <a:lstStyle/>
        <a:p>
          <a:endParaRPr lang="en-US"/>
        </a:p>
      </dgm:t>
    </dgm:pt>
    <dgm:pt modelId="{ABF98543-FAC4-4FC2-8A70-EAA22F1DE547}">
      <dgm:prSet custT="1"/>
      <dgm:spPr/>
      <dgm:t>
        <a:bodyPr/>
        <a:lstStyle/>
        <a:p>
          <a:pPr algn="l" rtl="0">
            <a:lnSpc>
              <a:spcPct val="90000"/>
            </a:lnSpc>
          </a:pPr>
          <a:r>
            <a:rPr lang="en-US" sz="1400" b="1" dirty="0">
              <a:latin typeface="Calibri"/>
              <a:ea typeface="+mn-ea"/>
              <a:cs typeface="+mn-cs"/>
            </a:rPr>
            <a:t>Conducted a transition seminar for staff/providers on key education topics to increase comfort &amp; knowledge</a:t>
          </a:r>
        </a:p>
      </dgm:t>
    </dgm:pt>
    <dgm:pt modelId="{2DC056FB-7677-4B10-8973-C8810F221937}" type="parTrans" cxnId="{5089019F-F51F-423E-97AB-4B4EEE7F331C}">
      <dgm:prSet/>
      <dgm:spPr/>
      <dgm:t>
        <a:bodyPr/>
        <a:lstStyle/>
        <a:p>
          <a:endParaRPr lang="en-US"/>
        </a:p>
      </dgm:t>
    </dgm:pt>
    <dgm:pt modelId="{78DB8335-4B46-4F3F-9345-2F1C5723D9AE}" type="sibTrans" cxnId="{5089019F-F51F-423E-97AB-4B4EEE7F331C}">
      <dgm:prSet/>
      <dgm:spPr/>
      <dgm:t>
        <a:bodyPr/>
        <a:lstStyle/>
        <a:p>
          <a:endParaRPr lang="en-US"/>
        </a:p>
      </dgm:t>
    </dgm:pt>
    <dgm:pt modelId="{90D5441E-94E6-4F24-8760-B9C99BF75BCE}">
      <dgm:prSet custT="1"/>
      <dgm:spPr/>
      <dgm:t>
        <a:bodyPr/>
        <a:lstStyle/>
        <a:p>
          <a:pPr algn="l">
            <a:lnSpc>
              <a:spcPct val="90000"/>
            </a:lnSpc>
            <a:defRPr b="1"/>
          </a:pPr>
          <a:r>
            <a:rPr lang="en-US" sz="1800" dirty="0">
              <a:latin typeface="Calibri"/>
              <a:ea typeface="+mn-ea"/>
              <a:cs typeface="+mn-cs"/>
            </a:rPr>
            <a:t>May 2024</a:t>
          </a:r>
        </a:p>
      </dgm:t>
    </dgm:pt>
    <dgm:pt modelId="{A21A2037-E030-428C-BDC5-FEE0A8CCF44D}" type="parTrans" cxnId="{F49E74E0-EA0F-4109-855C-4AAC926B3C7B}">
      <dgm:prSet/>
      <dgm:spPr/>
      <dgm:t>
        <a:bodyPr/>
        <a:lstStyle/>
        <a:p>
          <a:endParaRPr lang="en-US"/>
        </a:p>
      </dgm:t>
    </dgm:pt>
    <dgm:pt modelId="{479E411B-8CC7-471F-ADCC-90F480FDCFE2}" type="sibTrans" cxnId="{F49E74E0-EA0F-4109-855C-4AAC926B3C7B}">
      <dgm:prSet/>
      <dgm:spPr/>
      <dgm:t>
        <a:bodyPr/>
        <a:lstStyle/>
        <a:p>
          <a:endParaRPr lang="en-US"/>
        </a:p>
      </dgm:t>
    </dgm:pt>
    <dgm:pt modelId="{60014E2D-5B2C-4AD1-AD36-A4DF70B8D011}">
      <dgm:prSet custT="1"/>
      <dgm:spPr/>
      <dgm:t>
        <a:bodyPr/>
        <a:lstStyle/>
        <a:p>
          <a:pPr algn="l" rtl="0">
            <a:lnSpc>
              <a:spcPct val="90000"/>
            </a:lnSpc>
          </a:pPr>
          <a:r>
            <a:rPr lang="en-US" sz="1400" b="1" dirty="0">
              <a:latin typeface="Calibri"/>
              <a:ea typeface="+mn-ea"/>
              <a:cs typeface="+mn-cs"/>
            </a:rPr>
            <a:t>Updated &amp; disseminated a geographical-based list of local adult endocrinologists</a:t>
          </a:r>
        </a:p>
      </dgm:t>
    </dgm:pt>
    <dgm:pt modelId="{761536DE-2BFF-4384-8518-31CC80BA0D02}" type="parTrans" cxnId="{560E06A8-2E9A-4FC4-917E-F6F382533A76}">
      <dgm:prSet/>
      <dgm:spPr/>
      <dgm:t>
        <a:bodyPr/>
        <a:lstStyle/>
        <a:p>
          <a:endParaRPr lang="en-US"/>
        </a:p>
      </dgm:t>
    </dgm:pt>
    <dgm:pt modelId="{3D1E76CF-5C3F-489E-9B76-C86116140D1C}" type="sibTrans" cxnId="{560E06A8-2E9A-4FC4-917E-F6F382533A76}">
      <dgm:prSet/>
      <dgm:spPr/>
      <dgm:t>
        <a:bodyPr/>
        <a:lstStyle/>
        <a:p>
          <a:endParaRPr lang="en-US"/>
        </a:p>
      </dgm:t>
    </dgm:pt>
    <dgm:pt modelId="{E01B01CA-05B0-4D4B-9AF5-114AEF9850B6}">
      <dgm:prSet custT="1"/>
      <dgm:spPr/>
      <dgm:t>
        <a:bodyPr/>
        <a:lstStyle/>
        <a:p>
          <a:pPr algn="l">
            <a:lnSpc>
              <a:spcPct val="90000"/>
            </a:lnSpc>
            <a:defRPr b="1"/>
          </a:pPr>
          <a:r>
            <a:rPr lang="en-US" sz="1800" dirty="0">
              <a:latin typeface="Calibri"/>
              <a:ea typeface="+mn-ea"/>
              <a:cs typeface="+mn-cs"/>
            </a:rPr>
            <a:t>Jan 2025</a:t>
          </a:r>
        </a:p>
      </dgm:t>
    </dgm:pt>
    <dgm:pt modelId="{B3DA2131-5E0D-4E8A-99B5-9E72A53FABE0}" type="parTrans" cxnId="{EA6D6C9F-4AD5-4D30-BF51-3E5643FC0F85}">
      <dgm:prSet/>
      <dgm:spPr/>
      <dgm:t>
        <a:bodyPr/>
        <a:lstStyle/>
        <a:p>
          <a:endParaRPr lang="en-US"/>
        </a:p>
      </dgm:t>
    </dgm:pt>
    <dgm:pt modelId="{79FA0442-DEE9-488A-9F22-9A4706772189}" type="sibTrans" cxnId="{EA6D6C9F-4AD5-4D30-BF51-3E5643FC0F85}">
      <dgm:prSet/>
      <dgm:spPr/>
      <dgm:t>
        <a:bodyPr/>
        <a:lstStyle/>
        <a:p>
          <a:endParaRPr lang="en-US"/>
        </a:p>
      </dgm:t>
    </dgm:pt>
    <dgm:pt modelId="{035C0B60-DFE8-4D09-B581-BD2715E4078C}">
      <dgm:prSet custT="1"/>
      <dgm:spPr/>
      <dgm:t>
        <a:bodyPr/>
        <a:lstStyle/>
        <a:p>
          <a:pPr algn="l" rtl="0">
            <a:lnSpc>
              <a:spcPct val="90000"/>
            </a:lnSpc>
          </a:pPr>
          <a:r>
            <a:rPr lang="en-US" sz="1400" b="1" dirty="0">
              <a:latin typeface="Calibri"/>
              <a:ea typeface="+mn-ea"/>
              <a:cs typeface="+mn-cs"/>
            </a:rPr>
            <a:t>Updated clinic passport to assign specific transition tasks to each care team member</a:t>
          </a:r>
        </a:p>
      </dgm:t>
    </dgm:pt>
    <dgm:pt modelId="{6B689A09-FCA2-43DC-8526-9319BCDABE84}" type="parTrans" cxnId="{45D95078-4BC8-499C-946B-0AD188789FB6}">
      <dgm:prSet/>
      <dgm:spPr/>
      <dgm:t>
        <a:bodyPr/>
        <a:lstStyle/>
        <a:p>
          <a:endParaRPr lang="en-US"/>
        </a:p>
      </dgm:t>
    </dgm:pt>
    <dgm:pt modelId="{D67E381E-67BC-48F2-B6AD-569A95819745}" type="sibTrans" cxnId="{45D95078-4BC8-499C-946B-0AD188789FB6}">
      <dgm:prSet/>
      <dgm:spPr/>
      <dgm:t>
        <a:bodyPr/>
        <a:lstStyle/>
        <a:p>
          <a:endParaRPr lang="en-US"/>
        </a:p>
      </dgm:t>
    </dgm:pt>
    <dgm:pt modelId="{CF371996-D74F-4700-AE1C-5B071F00C3CA}" type="pres">
      <dgm:prSet presAssocID="{F4D3F9B7-B5FC-4F0E-B811-DCFB8699E0A3}" presName="Name0" presStyleCnt="0">
        <dgm:presLayoutVars>
          <dgm:animLvl val="lvl"/>
          <dgm:resizeHandles val="exact"/>
        </dgm:presLayoutVars>
      </dgm:prSet>
      <dgm:spPr/>
    </dgm:pt>
    <dgm:pt modelId="{ADFC5469-B5BE-4B21-BD27-ADA2E7F74CE9}" type="pres">
      <dgm:prSet presAssocID="{04F9F7E8-104B-43EB-892F-30CC5242C766}" presName="composite" presStyleCnt="0"/>
      <dgm:spPr/>
    </dgm:pt>
    <dgm:pt modelId="{8B739627-4C0F-4FF3-B5B2-8662ED1FCF95}" type="pres">
      <dgm:prSet presAssocID="{04F9F7E8-104B-43EB-892F-30CC5242C766}" presName="L" presStyleLbl="solidFgAcc1" presStyleIdx="0" presStyleCnt="5">
        <dgm:presLayoutVars>
          <dgm:chMax val="0"/>
          <dgm:chPref val="0"/>
        </dgm:presLayoutVars>
      </dgm:prSet>
      <dgm:spPr/>
    </dgm:pt>
    <dgm:pt modelId="{A1BFD19E-013F-425F-9E1D-B8D9E2D547D4}" type="pres">
      <dgm:prSet presAssocID="{04F9F7E8-104B-43EB-892F-30CC5242C766}" presName="parTx" presStyleLbl="alignNode1" presStyleIdx="0" presStyleCnt="5">
        <dgm:presLayoutVars>
          <dgm:chMax val="0"/>
          <dgm:chPref val="0"/>
          <dgm:bulletEnabled val="1"/>
        </dgm:presLayoutVars>
      </dgm:prSet>
      <dgm:spPr/>
    </dgm:pt>
    <dgm:pt modelId="{55B948EC-5D29-469C-90DD-A346A63BEB1F}" type="pres">
      <dgm:prSet presAssocID="{04F9F7E8-104B-43EB-892F-30CC5242C766}" presName="desTx" presStyleLbl="revTx" presStyleIdx="0" presStyleCnt="5">
        <dgm:presLayoutVars>
          <dgm:chMax val="0"/>
          <dgm:chPref val="0"/>
          <dgm:bulletEnabled val="1"/>
        </dgm:presLayoutVars>
      </dgm:prSet>
      <dgm:spPr/>
    </dgm:pt>
    <dgm:pt modelId="{CDC0398B-4E4D-458C-8026-927EE342652A}" type="pres">
      <dgm:prSet presAssocID="{04F9F7E8-104B-43EB-892F-30CC5242C766}" presName="EmptyPlaceHolder" presStyleCnt="0"/>
      <dgm:spPr/>
    </dgm:pt>
    <dgm:pt modelId="{4C73DC1B-982F-4821-A091-D6C2CAB1CAED}" type="pres">
      <dgm:prSet presAssocID="{191F4D63-BDA3-4FEF-B87E-07B08E262A82}" presName="space" presStyleCnt="0"/>
      <dgm:spPr/>
    </dgm:pt>
    <dgm:pt modelId="{9F5028DB-B07B-421C-B6C9-727306F2C24F}" type="pres">
      <dgm:prSet presAssocID="{6E624734-8B3F-4A26-9D3B-5ED97723AA76}" presName="composite" presStyleCnt="0"/>
      <dgm:spPr/>
    </dgm:pt>
    <dgm:pt modelId="{57802E43-64E3-4E0A-8705-B64768B24FCD}" type="pres">
      <dgm:prSet presAssocID="{6E624734-8B3F-4A26-9D3B-5ED97723AA76}" presName="L" presStyleLbl="solidFgAcc1" presStyleIdx="1" presStyleCnt="5">
        <dgm:presLayoutVars>
          <dgm:chMax val="0"/>
          <dgm:chPref val="0"/>
        </dgm:presLayoutVars>
      </dgm:prSet>
      <dgm:spPr/>
    </dgm:pt>
    <dgm:pt modelId="{2D152C46-05CA-4F0B-9FEE-E1D4734E2195}" type="pres">
      <dgm:prSet presAssocID="{6E624734-8B3F-4A26-9D3B-5ED97723AA76}" presName="parTx" presStyleLbl="alignNode1" presStyleIdx="1" presStyleCnt="5">
        <dgm:presLayoutVars>
          <dgm:chMax val="0"/>
          <dgm:chPref val="0"/>
          <dgm:bulletEnabled val="1"/>
        </dgm:presLayoutVars>
      </dgm:prSet>
      <dgm:spPr/>
    </dgm:pt>
    <dgm:pt modelId="{FBC96F52-3FAE-4931-A98C-8E44ADEE80AF}" type="pres">
      <dgm:prSet presAssocID="{6E624734-8B3F-4A26-9D3B-5ED97723AA76}" presName="desTx" presStyleLbl="revTx" presStyleIdx="1" presStyleCnt="5">
        <dgm:presLayoutVars>
          <dgm:chMax val="0"/>
          <dgm:chPref val="0"/>
          <dgm:bulletEnabled val="1"/>
        </dgm:presLayoutVars>
      </dgm:prSet>
      <dgm:spPr/>
    </dgm:pt>
    <dgm:pt modelId="{E9843675-78B2-461A-AF25-A5B4966631D8}" type="pres">
      <dgm:prSet presAssocID="{6E624734-8B3F-4A26-9D3B-5ED97723AA76}" presName="EmptyPlaceHolder" presStyleCnt="0"/>
      <dgm:spPr/>
    </dgm:pt>
    <dgm:pt modelId="{FEC0B67C-E950-4D74-8207-72EEF58B575A}" type="pres">
      <dgm:prSet presAssocID="{8CE209F1-FACC-44E7-9310-F8CEE14043C5}" presName="space" presStyleCnt="0"/>
      <dgm:spPr/>
    </dgm:pt>
    <dgm:pt modelId="{7674FB80-54BE-46E4-AF19-F4C7D30AF584}" type="pres">
      <dgm:prSet presAssocID="{9098B545-7E3A-49AA-94EE-B990F4E80ACE}" presName="composite" presStyleCnt="0"/>
      <dgm:spPr/>
    </dgm:pt>
    <dgm:pt modelId="{4D457925-AAEE-4A89-9603-61862D07EF7D}" type="pres">
      <dgm:prSet presAssocID="{9098B545-7E3A-49AA-94EE-B990F4E80ACE}" presName="L" presStyleLbl="solidFgAcc1" presStyleIdx="2" presStyleCnt="5">
        <dgm:presLayoutVars>
          <dgm:chMax val="0"/>
          <dgm:chPref val="0"/>
        </dgm:presLayoutVars>
      </dgm:prSet>
      <dgm:spPr/>
    </dgm:pt>
    <dgm:pt modelId="{C443C9CC-2017-4297-9CED-0183F181388F}" type="pres">
      <dgm:prSet presAssocID="{9098B545-7E3A-49AA-94EE-B990F4E80ACE}" presName="parTx" presStyleLbl="alignNode1" presStyleIdx="2" presStyleCnt="5">
        <dgm:presLayoutVars>
          <dgm:chMax val="0"/>
          <dgm:chPref val="0"/>
          <dgm:bulletEnabled val="1"/>
        </dgm:presLayoutVars>
      </dgm:prSet>
      <dgm:spPr/>
    </dgm:pt>
    <dgm:pt modelId="{CAD96959-A535-468F-BB30-103C9E3BC371}" type="pres">
      <dgm:prSet presAssocID="{9098B545-7E3A-49AA-94EE-B990F4E80ACE}" presName="desTx" presStyleLbl="revTx" presStyleIdx="2" presStyleCnt="5">
        <dgm:presLayoutVars>
          <dgm:chMax val="0"/>
          <dgm:chPref val="0"/>
          <dgm:bulletEnabled val="1"/>
        </dgm:presLayoutVars>
      </dgm:prSet>
      <dgm:spPr/>
    </dgm:pt>
    <dgm:pt modelId="{4562D7FB-69F8-4446-AD7A-4F519A6675C9}" type="pres">
      <dgm:prSet presAssocID="{9098B545-7E3A-49AA-94EE-B990F4E80ACE}" presName="EmptyPlaceHolder" presStyleCnt="0"/>
      <dgm:spPr/>
    </dgm:pt>
    <dgm:pt modelId="{215DFA5D-2CE3-4C02-B959-2C3DA2D8CB15}" type="pres">
      <dgm:prSet presAssocID="{EB1A53AF-AD34-43C9-9A57-031B9E277EEC}" presName="space" presStyleCnt="0"/>
      <dgm:spPr/>
    </dgm:pt>
    <dgm:pt modelId="{41647246-446D-4AC3-831E-0FC193DA51BD}" type="pres">
      <dgm:prSet presAssocID="{90D5441E-94E6-4F24-8760-B9C99BF75BCE}" presName="composite" presStyleCnt="0"/>
      <dgm:spPr/>
    </dgm:pt>
    <dgm:pt modelId="{154EABA3-ECBB-4123-B78A-CF6B6839F4B1}" type="pres">
      <dgm:prSet presAssocID="{90D5441E-94E6-4F24-8760-B9C99BF75BCE}" presName="L" presStyleLbl="solidFgAcc1" presStyleIdx="3" presStyleCnt="5">
        <dgm:presLayoutVars>
          <dgm:chMax val="0"/>
          <dgm:chPref val="0"/>
        </dgm:presLayoutVars>
      </dgm:prSet>
      <dgm:spPr/>
    </dgm:pt>
    <dgm:pt modelId="{8EB5FB2E-FD21-4493-BF05-A1039629E8B3}" type="pres">
      <dgm:prSet presAssocID="{90D5441E-94E6-4F24-8760-B9C99BF75BCE}" presName="parTx" presStyleLbl="alignNode1" presStyleIdx="3" presStyleCnt="5">
        <dgm:presLayoutVars>
          <dgm:chMax val="0"/>
          <dgm:chPref val="0"/>
          <dgm:bulletEnabled val="1"/>
        </dgm:presLayoutVars>
      </dgm:prSet>
      <dgm:spPr/>
    </dgm:pt>
    <dgm:pt modelId="{F48EE89F-7399-4017-9C3B-EEFF43A7C04C}" type="pres">
      <dgm:prSet presAssocID="{90D5441E-94E6-4F24-8760-B9C99BF75BCE}" presName="desTx" presStyleLbl="revTx" presStyleIdx="3" presStyleCnt="5">
        <dgm:presLayoutVars>
          <dgm:chMax val="0"/>
          <dgm:chPref val="0"/>
          <dgm:bulletEnabled val="1"/>
        </dgm:presLayoutVars>
      </dgm:prSet>
      <dgm:spPr/>
    </dgm:pt>
    <dgm:pt modelId="{766D8AA9-52CC-46D5-8CC2-103A3B7D1E4C}" type="pres">
      <dgm:prSet presAssocID="{90D5441E-94E6-4F24-8760-B9C99BF75BCE}" presName="EmptyPlaceHolder" presStyleCnt="0"/>
      <dgm:spPr/>
    </dgm:pt>
    <dgm:pt modelId="{AF388B1B-AF00-4803-ADDD-AC41AE563CBD}" type="pres">
      <dgm:prSet presAssocID="{479E411B-8CC7-471F-ADCC-90F480FDCFE2}" presName="space" presStyleCnt="0"/>
      <dgm:spPr/>
    </dgm:pt>
    <dgm:pt modelId="{823938BC-9FF5-4EFB-A5B5-56F41ABE90D7}" type="pres">
      <dgm:prSet presAssocID="{E01B01CA-05B0-4D4B-9AF5-114AEF9850B6}" presName="composite" presStyleCnt="0"/>
      <dgm:spPr/>
    </dgm:pt>
    <dgm:pt modelId="{BD94DD56-E69A-47BC-8793-5A2EA5533204}" type="pres">
      <dgm:prSet presAssocID="{E01B01CA-05B0-4D4B-9AF5-114AEF9850B6}" presName="L" presStyleLbl="solidFgAcc1" presStyleIdx="4" presStyleCnt="5">
        <dgm:presLayoutVars>
          <dgm:chMax val="0"/>
          <dgm:chPref val="0"/>
        </dgm:presLayoutVars>
      </dgm:prSet>
      <dgm:spPr/>
    </dgm:pt>
    <dgm:pt modelId="{C9844460-F1BA-4654-959A-768ADD62A7C6}" type="pres">
      <dgm:prSet presAssocID="{E01B01CA-05B0-4D4B-9AF5-114AEF9850B6}" presName="parTx" presStyleLbl="alignNode1" presStyleIdx="4" presStyleCnt="5">
        <dgm:presLayoutVars>
          <dgm:chMax val="0"/>
          <dgm:chPref val="0"/>
          <dgm:bulletEnabled val="1"/>
        </dgm:presLayoutVars>
      </dgm:prSet>
      <dgm:spPr/>
    </dgm:pt>
    <dgm:pt modelId="{214AD936-926C-4826-90CC-29E684C2E1A6}" type="pres">
      <dgm:prSet presAssocID="{E01B01CA-05B0-4D4B-9AF5-114AEF9850B6}" presName="desTx" presStyleLbl="revTx" presStyleIdx="4" presStyleCnt="5">
        <dgm:presLayoutVars>
          <dgm:chMax val="0"/>
          <dgm:chPref val="0"/>
          <dgm:bulletEnabled val="1"/>
        </dgm:presLayoutVars>
      </dgm:prSet>
      <dgm:spPr/>
    </dgm:pt>
    <dgm:pt modelId="{421ED622-DDF1-44A3-AA87-39992B13F753}" type="pres">
      <dgm:prSet presAssocID="{E01B01CA-05B0-4D4B-9AF5-114AEF9850B6}" presName="EmptyPlaceHolder" presStyleCnt="0"/>
      <dgm:spPr/>
    </dgm:pt>
  </dgm:ptLst>
  <dgm:cxnLst>
    <dgm:cxn modelId="{4A37F404-EAE0-4994-8D3C-229A9DFEB51C}" type="presOf" srcId="{9098B545-7E3A-49AA-94EE-B990F4E80ACE}" destId="{C443C9CC-2017-4297-9CED-0183F181388F}" srcOrd="0" destOrd="0" presId="urn:microsoft.com/office/officeart/2016/7/layout/AccentHomeChevronProcess"/>
    <dgm:cxn modelId="{E7E74F2A-956D-4E0C-8A98-A2ED013EEF02}" type="presOf" srcId="{E01B01CA-05B0-4D4B-9AF5-114AEF9850B6}" destId="{C9844460-F1BA-4654-959A-768ADD62A7C6}" srcOrd="0" destOrd="0" presId="urn:microsoft.com/office/officeart/2016/7/layout/AccentHomeChevronProcess"/>
    <dgm:cxn modelId="{8DBDDA2C-5B25-45EB-9E7B-84BCA629914F}" srcId="{6E624734-8B3F-4A26-9D3B-5ED97723AA76}" destId="{97F6C511-C2D0-4D4A-B5C3-F76D64458540}" srcOrd="0" destOrd="0" parTransId="{4F9A3E74-5EFC-4394-9663-560D9777C57D}" sibTransId="{B8DBD120-57A9-48A9-9F12-F0E9D666E0AB}"/>
    <dgm:cxn modelId="{6FA4CE3E-BBCD-4902-B8F0-378939E12E34}" srcId="{04F9F7E8-104B-43EB-892F-30CC5242C766}" destId="{65616B0A-2C85-4EC4-8D9B-225DCF3AB237}" srcOrd="1" destOrd="0" parTransId="{0C1D4D64-D601-4B31-AC0A-77EE32BA5DB9}" sibTransId="{6620890A-6508-4AE8-8C68-FFC27D0BF03F}"/>
    <dgm:cxn modelId="{DBD38560-2988-44F3-8135-D1796FE1F9B4}" type="presOf" srcId="{97F6C511-C2D0-4D4A-B5C3-F76D64458540}" destId="{FBC96F52-3FAE-4931-A98C-8E44ADEE80AF}" srcOrd="0" destOrd="0" presId="urn:microsoft.com/office/officeart/2016/7/layout/AccentHomeChevronProcess"/>
    <dgm:cxn modelId="{BCE98A6A-2E13-4CCB-8FA4-6879995C6A44}" srcId="{F4D3F9B7-B5FC-4F0E-B811-DCFB8699E0A3}" destId="{6E624734-8B3F-4A26-9D3B-5ED97723AA76}" srcOrd="1" destOrd="0" parTransId="{4EC1E088-7F9B-48F7-8480-5C473FC588CE}" sibTransId="{8CE209F1-FACC-44E7-9310-F8CEE14043C5}"/>
    <dgm:cxn modelId="{5274156B-180E-40AC-BCD2-93AC74CCC370}" srcId="{F4D3F9B7-B5FC-4F0E-B811-DCFB8699E0A3}" destId="{9098B545-7E3A-49AA-94EE-B990F4E80ACE}" srcOrd="2" destOrd="0" parTransId="{9A1860EC-A374-4894-AC34-CF618CBEDF4C}" sibTransId="{EB1A53AF-AD34-43C9-9A57-031B9E277EEC}"/>
    <dgm:cxn modelId="{CF78AE4E-57EE-4AE7-983A-2604ECECCC3A}" type="presOf" srcId="{6E624734-8B3F-4A26-9D3B-5ED97723AA76}" destId="{2D152C46-05CA-4F0B-9FEE-E1D4734E2195}" srcOrd="0" destOrd="0" presId="urn:microsoft.com/office/officeart/2016/7/layout/AccentHomeChevronProcess"/>
    <dgm:cxn modelId="{45D95078-4BC8-499C-946B-0AD188789FB6}" srcId="{E01B01CA-05B0-4D4B-9AF5-114AEF9850B6}" destId="{035C0B60-DFE8-4D09-B581-BD2715E4078C}" srcOrd="0" destOrd="0" parTransId="{6B689A09-FCA2-43DC-8526-9319BCDABE84}" sibTransId="{D67E381E-67BC-48F2-B6AD-569A95819745}"/>
    <dgm:cxn modelId="{3C73D77C-6F94-4144-AA3D-BB2E436F1A5F}" type="presOf" srcId="{035C0B60-DFE8-4D09-B581-BD2715E4078C}" destId="{214AD936-926C-4826-90CC-29E684C2E1A6}" srcOrd="0" destOrd="0" presId="urn:microsoft.com/office/officeart/2016/7/layout/AccentHomeChevronProcess"/>
    <dgm:cxn modelId="{57D9FB7C-CF42-4A6C-907A-6B66F94B4329}" type="presOf" srcId="{6A471025-E5DF-4BEC-B399-F0449BC9EC77}" destId="{55B948EC-5D29-469C-90DD-A346A63BEB1F}" srcOrd="0" destOrd="0" presId="urn:microsoft.com/office/officeart/2016/7/layout/AccentHomeChevronProcess"/>
    <dgm:cxn modelId="{A433DE9A-E12E-40EF-8B93-5004C75D336D}" type="presOf" srcId="{04F9F7E8-104B-43EB-892F-30CC5242C766}" destId="{A1BFD19E-013F-425F-9E1D-B8D9E2D547D4}" srcOrd="0" destOrd="0" presId="urn:microsoft.com/office/officeart/2016/7/layout/AccentHomeChevronProcess"/>
    <dgm:cxn modelId="{5089019F-F51F-423E-97AB-4B4EEE7F331C}" srcId="{9098B545-7E3A-49AA-94EE-B990F4E80ACE}" destId="{ABF98543-FAC4-4FC2-8A70-EAA22F1DE547}" srcOrd="0" destOrd="0" parTransId="{2DC056FB-7677-4B10-8973-C8810F221937}" sibTransId="{78DB8335-4B46-4F3F-9345-2F1C5723D9AE}"/>
    <dgm:cxn modelId="{EA6D6C9F-4AD5-4D30-BF51-3E5643FC0F85}" srcId="{F4D3F9B7-B5FC-4F0E-B811-DCFB8699E0A3}" destId="{E01B01CA-05B0-4D4B-9AF5-114AEF9850B6}" srcOrd="4" destOrd="0" parTransId="{B3DA2131-5E0D-4E8A-99B5-9E72A53FABE0}" sibTransId="{79FA0442-DEE9-488A-9F22-9A4706772189}"/>
    <dgm:cxn modelId="{F25E05A8-1B0A-431C-9D33-673419636343}" srcId="{F4D3F9B7-B5FC-4F0E-B811-DCFB8699E0A3}" destId="{04F9F7E8-104B-43EB-892F-30CC5242C766}" srcOrd="0" destOrd="0" parTransId="{4D5F8CC8-F32E-43AD-9A1E-925DFC19CAA7}" sibTransId="{191F4D63-BDA3-4FEF-B87E-07B08E262A82}"/>
    <dgm:cxn modelId="{560E06A8-2E9A-4FC4-917E-F6F382533A76}" srcId="{90D5441E-94E6-4F24-8760-B9C99BF75BCE}" destId="{60014E2D-5B2C-4AD1-AD36-A4DF70B8D011}" srcOrd="0" destOrd="0" parTransId="{761536DE-2BFF-4384-8518-31CC80BA0D02}" sibTransId="{3D1E76CF-5C3F-489E-9B76-C86116140D1C}"/>
    <dgm:cxn modelId="{A97440A8-F60E-4C1F-8BC7-6D13CDE43CB9}" srcId="{04F9F7E8-104B-43EB-892F-30CC5242C766}" destId="{6A471025-E5DF-4BEC-B399-F0449BC9EC77}" srcOrd="0" destOrd="0" parTransId="{ED8E1055-EF63-4D45-BCC3-84BAEE630750}" sibTransId="{A1B23BDB-1602-45FD-9052-32BAB6BB46B2}"/>
    <dgm:cxn modelId="{67BAA9DC-A745-4DC9-AB1E-C789164C1640}" type="presOf" srcId="{90D5441E-94E6-4F24-8760-B9C99BF75BCE}" destId="{8EB5FB2E-FD21-4493-BF05-A1039629E8B3}" srcOrd="0" destOrd="0" presId="urn:microsoft.com/office/officeart/2016/7/layout/AccentHomeChevronProcess"/>
    <dgm:cxn modelId="{F49E74E0-EA0F-4109-855C-4AAC926B3C7B}" srcId="{F4D3F9B7-B5FC-4F0E-B811-DCFB8699E0A3}" destId="{90D5441E-94E6-4F24-8760-B9C99BF75BCE}" srcOrd="3" destOrd="0" parTransId="{A21A2037-E030-428C-BDC5-FEE0A8CCF44D}" sibTransId="{479E411B-8CC7-471F-ADCC-90F480FDCFE2}"/>
    <dgm:cxn modelId="{DCF3CBE0-33E2-444F-93AE-66FD6274CBBF}" type="presOf" srcId="{60014E2D-5B2C-4AD1-AD36-A4DF70B8D011}" destId="{F48EE89F-7399-4017-9C3B-EEFF43A7C04C}" srcOrd="0" destOrd="0" presId="urn:microsoft.com/office/officeart/2016/7/layout/AccentHomeChevronProcess"/>
    <dgm:cxn modelId="{920311E2-C129-4825-BDDD-5B1762A588D8}" type="presOf" srcId="{F4D3F9B7-B5FC-4F0E-B811-DCFB8699E0A3}" destId="{CF371996-D74F-4700-AE1C-5B071F00C3CA}" srcOrd="0" destOrd="0" presId="urn:microsoft.com/office/officeart/2016/7/layout/AccentHomeChevronProcess"/>
    <dgm:cxn modelId="{6F983BE8-3E99-4350-BBCE-DF3542144330}" type="presOf" srcId="{65616B0A-2C85-4EC4-8D9B-225DCF3AB237}" destId="{55B948EC-5D29-469C-90DD-A346A63BEB1F}" srcOrd="0" destOrd="1" presId="urn:microsoft.com/office/officeart/2016/7/layout/AccentHomeChevronProcess"/>
    <dgm:cxn modelId="{CDA00CF7-F6D5-4941-B10B-EE03C1ECBEF7}" type="presOf" srcId="{ABF98543-FAC4-4FC2-8A70-EAA22F1DE547}" destId="{CAD96959-A535-468F-BB30-103C9E3BC371}" srcOrd="0" destOrd="0" presId="urn:microsoft.com/office/officeart/2016/7/layout/AccentHomeChevronProcess"/>
    <dgm:cxn modelId="{D11E6376-CA02-4F17-90D6-274D3912DCBA}" type="presParOf" srcId="{CF371996-D74F-4700-AE1C-5B071F00C3CA}" destId="{ADFC5469-B5BE-4B21-BD27-ADA2E7F74CE9}" srcOrd="0" destOrd="0" presId="urn:microsoft.com/office/officeart/2016/7/layout/AccentHomeChevronProcess"/>
    <dgm:cxn modelId="{5D76EE06-A86C-41B7-9AA9-60E661E4CC91}" type="presParOf" srcId="{ADFC5469-B5BE-4B21-BD27-ADA2E7F74CE9}" destId="{8B739627-4C0F-4FF3-B5B2-8662ED1FCF95}" srcOrd="0" destOrd="0" presId="urn:microsoft.com/office/officeart/2016/7/layout/AccentHomeChevronProcess"/>
    <dgm:cxn modelId="{26EE95CD-A822-4E63-978E-762412394CC2}" type="presParOf" srcId="{ADFC5469-B5BE-4B21-BD27-ADA2E7F74CE9}" destId="{A1BFD19E-013F-425F-9E1D-B8D9E2D547D4}" srcOrd="1" destOrd="0" presId="urn:microsoft.com/office/officeart/2016/7/layout/AccentHomeChevronProcess"/>
    <dgm:cxn modelId="{B3731B5D-FA16-40EF-B694-0E03956FFCA3}" type="presParOf" srcId="{ADFC5469-B5BE-4B21-BD27-ADA2E7F74CE9}" destId="{55B948EC-5D29-469C-90DD-A346A63BEB1F}" srcOrd="2" destOrd="0" presId="urn:microsoft.com/office/officeart/2016/7/layout/AccentHomeChevronProcess"/>
    <dgm:cxn modelId="{E343F0CF-E2BA-40B2-9716-6D8C4E57E938}" type="presParOf" srcId="{ADFC5469-B5BE-4B21-BD27-ADA2E7F74CE9}" destId="{CDC0398B-4E4D-458C-8026-927EE342652A}" srcOrd="3" destOrd="0" presId="urn:microsoft.com/office/officeart/2016/7/layout/AccentHomeChevronProcess"/>
    <dgm:cxn modelId="{C0E4EACC-0535-40FC-B79F-DACDB0F9631E}" type="presParOf" srcId="{CF371996-D74F-4700-AE1C-5B071F00C3CA}" destId="{4C73DC1B-982F-4821-A091-D6C2CAB1CAED}" srcOrd="1" destOrd="0" presId="urn:microsoft.com/office/officeart/2016/7/layout/AccentHomeChevronProcess"/>
    <dgm:cxn modelId="{84A291A4-B0D7-4DC6-B6BB-6224DDF04BD1}" type="presParOf" srcId="{CF371996-D74F-4700-AE1C-5B071F00C3CA}" destId="{9F5028DB-B07B-421C-B6C9-727306F2C24F}" srcOrd="2" destOrd="0" presId="urn:microsoft.com/office/officeart/2016/7/layout/AccentHomeChevronProcess"/>
    <dgm:cxn modelId="{F7FB2412-EBB2-4266-9CC0-1E9379433561}" type="presParOf" srcId="{9F5028DB-B07B-421C-B6C9-727306F2C24F}" destId="{57802E43-64E3-4E0A-8705-B64768B24FCD}" srcOrd="0" destOrd="0" presId="urn:microsoft.com/office/officeart/2016/7/layout/AccentHomeChevronProcess"/>
    <dgm:cxn modelId="{95B3DEBF-C861-4BAB-9B22-7C3E69FE95BC}" type="presParOf" srcId="{9F5028DB-B07B-421C-B6C9-727306F2C24F}" destId="{2D152C46-05CA-4F0B-9FEE-E1D4734E2195}" srcOrd="1" destOrd="0" presId="urn:microsoft.com/office/officeart/2016/7/layout/AccentHomeChevronProcess"/>
    <dgm:cxn modelId="{EAC72066-0349-4FB1-B8BA-88AC436EE1DD}" type="presParOf" srcId="{9F5028DB-B07B-421C-B6C9-727306F2C24F}" destId="{FBC96F52-3FAE-4931-A98C-8E44ADEE80AF}" srcOrd="2" destOrd="0" presId="urn:microsoft.com/office/officeart/2016/7/layout/AccentHomeChevronProcess"/>
    <dgm:cxn modelId="{CEEFDF2B-BCDE-4244-8129-AA75A9F6E30C}" type="presParOf" srcId="{9F5028DB-B07B-421C-B6C9-727306F2C24F}" destId="{E9843675-78B2-461A-AF25-A5B4966631D8}" srcOrd="3" destOrd="0" presId="urn:microsoft.com/office/officeart/2016/7/layout/AccentHomeChevronProcess"/>
    <dgm:cxn modelId="{835C7CC0-156D-43A1-A1B3-7B26B130A341}" type="presParOf" srcId="{CF371996-D74F-4700-AE1C-5B071F00C3CA}" destId="{FEC0B67C-E950-4D74-8207-72EEF58B575A}" srcOrd="3" destOrd="0" presId="urn:microsoft.com/office/officeart/2016/7/layout/AccentHomeChevronProcess"/>
    <dgm:cxn modelId="{777697CB-4ACF-4E65-A5ED-AEB75D574AB0}" type="presParOf" srcId="{CF371996-D74F-4700-AE1C-5B071F00C3CA}" destId="{7674FB80-54BE-46E4-AF19-F4C7D30AF584}" srcOrd="4" destOrd="0" presId="urn:microsoft.com/office/officeart/2016/7/layout/AccentHomeChevronProcess"/>
    <dgm:cxn modelId="{75E636F4-96D2-4FB0-9A03-9CB9155CEC8D}" type="presParOf" srcId="{7674FB80-54BE-46E4-AF19-F4C7D30AF584}" destId="{4D457925-AAEE-4A89-9603-61862D07EF7D}" srcOrd="0" destOrd="0" presId="urn:microsoft.com/office/officeart/2016/7/layout/AccentHomeChevronProcess"/>
    <dgm:cxn modelId="{9B5AE522-263F-441A-B709-B7DCBBB6E81A}" type="presParOf" srcId="{7674FB80-54BE-46E4-AF19-F4C7D30AF584}" destId="{C443C9CC-2017-4297-9CED-0183F181388F}" srcOrd="1" destOrd="0" presId="urn:microsoft.com/office/officeart/2016/7/layout/AccentHomeChevronProcess"/>
    <dgm:cxn modelId="{24FB71B9-2546-4BA7-B122-782FDEBB8BBA}" type="presParOf" srcId="{7674FB80-54BE-46E4-AF19-F4C7D30AF584}" destId="{CAD96959-A535-468F-BB30-103C9E3BC371}" srcOrd="2" destOrd="0" presId="urn:microsoft.com/office/officeart/2016/7/layout/AccentHomeChevronProcess"/>
    <dgm:cxn modelId="{2AF350E1-865D-45D0-9922-FB8E7BC7C8F8}" type="presParOf" srcId="{7674FB80-54BE-46E4-AF19-F4C7D30AF584}" destId="{4562D7FB-69F8-4446-AD7A-4F519A6675C9}" srcOrd="3" destOrd="0" presId="urn:microsoft.com/office/officeart/2016/7/layout/AccentHomeChevronProcess"/>
    <dgm:cxn modelId="{7AC558C5-36E0-4AB9-A8F9-F2C704887010}" type="presParOf" srcId="{CF371996-D74F-4700-AE1C-5B071F00C3CA}" destId="{215DFA5D-2CE3-4C02-B959-2C3DA2D8CB15}" srcOrd="5" destOrd="0" presId="urn:microsoft.com/office/officeart/2016/7/layout/AccentHomeChevronProcess"/>
    <dgm:cxn modelId="{063FB215-2F0C-4844-93C8-8773E5065120}" type="presParOf" srcId="{CF371996-D74F-4700-AE1C-5B071F00C3CA}" destId="{41647246-446D-4AC3-831E-0FC193DA51BD}" srcOrd="6" destOrd="0" presId="urn:microsoft.com/office/officeart/2016/7/layout/AccentHomeChevronProcess"/>
    <dgm:cxn modelId="{6576B2F9-8400-425B-A248-37471DCEB933}" type="presParOf" srcId="{41647246-446D-4AC3-831E-0FC193DA51BD}" destId="{154EABA3-ECBB-4123-B78A-CF6B6839F4B1}" srcOrd="0" destOrd="0" presId="urn:microsoft.com/office/officeart/2016/7/layout/AccentHomeChevronProcess"/>
    <dgm:cxn modelId="{9B572726-0DE4-4455-B611-58D9CE09340D}" type="presParOf" srcId="{41647246-446D-4AC3-831E-0FC193DA51BD}" destId="{8EB5FB2E-FD21-4493-BF05-A1039629E8B3}" srcOrd="1" destOrd="0" presId="urn:microsoft.com/office/officeart/2016/7/layout/AccentHomeChevronProcess"/>
    <dgm:cxn modelId="{199F9BD8-3966-4728-88E3-C0831DB27E36}" type="presParOf" srcId="{41647246-446D-4AC3-831E-0FC193DA51BD}" destId="{F48EE89F-7399-4017-9C3B-EEFF43A7C04C}" srcOrd="2" destOrd="0" presId="urn:microsoft.com/office/officeart/2016/7/layout/AccentHomeChevronProcess"/>
    <dgm:cxn modelId="{7F0347FC-0B45-4678-BA3E-EB3B1AFDF67A}" type="presParOf" srcId="{41647246-446D-4AC3-831E-0FC193DA51BD}" destId="{766D8AA9-52CC-46D5-8CC2-103A3B7D1E4C}" srcOrd="3" destOrd="0" presId="urn:microsoft.com/office/officeart/2016/7/layout/AccentHomeChevronProcess"/>
    <dgm:cxn modelId="{F07BD08D-8762-4C9D-B832-B24A91453046}" type="presParOf" srcId="{CF371996-D74F-4700-AE1C-5B071F00C3CA}" destId="{AF388B1B-AF00-4803-ADDD-AC41AE563CBD}" srcOrd="7" destOrd="0" presId="urn:microsoft.com/office/officeart/2016/7/layout/AccentHomeChevronProcess"/>
    <dgm:cxn modelId="{5BAB1E3E-A8C9-4A4D-8949-56F8EB2E1DC6}" type="presParOf" srcId="{CF371996-D74F-4700-AE1C-5B071F00C3CA}" destId="{823938BC-9FF5-4EFB-A5B5-56F41ABE90D7}" srcOrd="8" destOrd="0" presId="urn:microsoft.com/office/officeart/2016/7/layout/AccentHomeChevronProcess"/>
    <dgm:cxn modelId="{15025984-EA33-4A14-A28C-239A84F23B10}" type="presParOf" srcId="{823938BC-9FF5-4EFB-A5B5-56F41ABE90D7}" destId="{BD94DD56-E69A-47BC-8793-5A2EA5533204}" srcOrd="0" destOrd="0" presId="urn:microsoft.com/office/officeart/2016/7/layout/AccentHomeChevronProcess"/>
    <dgm:cxn modelId="{85ADA2B8-A5AB-43DD-98DA-28EE611CF7B9}" type="presParOf" srcId="{823938BC-9FF5-4EFB-A5B5-56F41ABE90D7}" destId="{C9844460-F1BA-4654-959A-768ADD62A7C6}" srcOrd="1" destOrd="0" presId="urn:microsoft.com/office/officeart/2016/7/layout/AccentHomeChevronProcess"/>
    <dgm:cxn modelId="{1961D2D9-952C-42D6-B7C4-E7F871EC5D83}" type="presParOf" srcId="{823938BC-9FF5-4EFB-A5B5-56F41ABE90D7}" destId="{214AD936-926C-4826-90CC-29E684C2E1A6}" srcOrd="2" destOrd="0" presId="urn:microsoft.com/office/officeart/2016/7/layout/AccentHomeChevronProcess"/>
    <dgm:cxn modelId="{77A623F0-F03E-45F2-B7A5-0524F84EED4B}" type="presParOf" srcId="{823938BC-9FF5-4EFB-A5B5-56F41ABE90D7}" destId="{421ED622-DDF1-44A3-AA87-39992B13F753}" srcOrd="3" destOrd="0" presId="urn:microsoft.com/office/officeart/2016/7/layout/AccentHomeChevron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A782C24-6EE6-42E4-9D08-D6065B48F45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B44719D-F574-48CE-AC74-7B492E1365F5}">
      <dgm:prSet phldrT="[Text]" phldr="0" custT="1"/>
      <dgm:spPr/>
      <dgm:t>
        <a:bodyPr/>
        <a:lstStyle/>
        <a:p>
          <a:pPr rtl="0"/>
          <a:r>
            <a:rPr lang="en-US" sz="2400" dirty="0">
              <a:solidFill>
                <a:schemeClr val="bg1"/>
              </a:solidFill>
              <a:latin typeface="Calibri"/>
              <a:ea typeface="Calibri"/>
              <a:cs typeface="Calibri"/>
            </a:rPr>
            <a:t>Lessons Learned</a:t>
          </a:r>
        </a:p>
      </dgm:t>
    </dgm:pt>
    <dgm:pt modelId="{5FDE1AB3-1B85-43E3-B24C-EDC6246D3515}" type="parTrans" cxnId="{D807487E-8E4A-4849-B65E-A2BF510C0CF4}">
      <dgm:prSet/>
      <dgm:spPr/>
      <dgm:t>
        <a:bodyPr/>
        <a:lstStyle/>
        <a:p>
          <a:endParaRPr lang="en-US"/>
        </a:p>
      </dgm:t>
    </dgm:pt>
    <dgm:pt modelId="{F8FB85A8-D11F-4641-8E0C-A196B312CCD6}" type="sibTrans" cxnId="{D807487E-8E4A-4849-B65E-A2BF510C0CF4}">
      <dgm:prSet/>
      <dgm:spPr/>
      <dgm:t>
        <a:bodyPr/>
        <a:lstStyle/>
        <a:p>
          <a:endParaRPr lang="en-US"/>
        </a:p>
      </dgm:t>
    </dgm:pt>
    <dgm:pt modelId="{91ACCB94-9D5C-49E8-8BD8-5B3927B10A4A}">
      <dgm:prSet phldr="0"/>
      <dgm:spPr/>
      <dgm:t>
        <a:bodyPr/>
        <a:lstStyle/>
        <a:p>
          <a:pPr algn="l" rtl="0">
            <a:lnSpc>
              <a:spcPct val="90000"/>
            </a:lnSpc>
          </a:pPr>
          <a:r>
            <a:rPr lang="en-US" sz="2400" dirty="0">
              <a:solidFill>
                <a:srgbClr val="7030A0"/>
              </a:solidFill>
              <a:latin typeface="Calibri"/>
              <a:ea typeface="Calibri"/>
              <a:cs typeface="Calibri"/>
            </a:rPr>
            <a:t>Team-based roadmap – a key to successful transition</a:t>
          </a:r>
        </a:p>
      </dgm:t>
    </dgm:pt>
    <dgm:pt modelId="{803D88C3-86CB-40CC-9CD1-7C266E6D788A}" type="parTrans" cxnId="{6EA64E95-C7D7-4A3B-9E27-2DE627BE388B}">
      <dgm:prSet/>
      <dgm:spPr/>
    </dgm:pt>
    <dgm:pt modelId="{59183227-146C-4695-A0F9-BDC2FF4C31DA}" type="sibTrans" cxnId="{6EA64E95-C7D7-4A3B-9E27-2DE627BE388B}">
      <dgm:prSet/>
      <dgm:spPr/>
    </dgm:pt>
    <dgm:pt modelId="{73F32DD5-FEA2-4372-B100-7222F7C7B9D4}">
      <dgm:prSet phldr="0"/>
      <dgm:spPr/>
      <dgm:t>
        <a:bodyPr/>
        <a:lstStyle/>
        <a:p>
          <a:pPr algn="l">
            <a:lnSpc>
              <a:spcPct val="90000"/>
            </a:lnSpc>
          </a:pPr>
          <a:r>
            <a:rPr lang="en-US" sz="2400" dirty="0">
              <a:latin typeface="Calibri"/>
              <a:ea typeface="Calibri"/>
              <a:cs typeface="Calibri"/>
            </a:rPr>
            <a:t>Success driven by</a:t>
          </a:r>
        </a:p>
      </dgm:t>
    </dgm:pt>
    <dgm:pt modelId="{B6A08260-D8CB-4732-8E36-36E4C9077BDE}" type="parTrans" cxnId="{0220C2BA-5521-470D-A79D-1E5357865E93}">
      <dgm:prSet/>
      <dgm:spPr/>
    </dgm:pt>
    <dgm:pt modelId="{1D20736E-64DE-4374-B709-1BCB6A03BBE1}" type="sibTrans" cxnId="{0220C2BA-5521-470D-A79D-1E5357865E93}">
      <dgm:prSet/>
      <dgm:spPr/>
    </dgm:pt>
    <dgm:pt modelId="{BE6CC19B-209D-4936-ACCE-CA23CCDF8245}">
      <dgm:prSet phldr="0"/>
      <dgm:spPr/>
      <dgm:t>
        <a:bodyPr/>
        <a:lstStyle/>
        <a:p>
          <a:pPr algn="l" rtl="0">
            <a:lnSpc>
              <a:spcPct val="90000"/>
            </a:lnSpc>
          </a:pPr>
          <a:r>
            <a:rPr lang="en-US" sz="2400" dirty="0">
              <a:latin typeface="Calibri"/>
              <a:ea typeface="Calibri"/>
              <a:cs typeface="Calibri"/>
            </a:rPr>
            <a:t>Leveraging EMR integration</a:t>
          </a:r>
        </a:p>
      </dgm:t>
    </dgm:pt>
    <dgm:pt modelId="{99A8A9E4-E894-432C-923B-0CF0FDF77AF7}" type="parTrans" cxnId="{67581CD0-B89E-4DAF-94DB-912F004274AC}">
      <dgm:prSet/>
      <dgm:spPr/>
    </dgm:pt>
    <dgm:pt modelId="{48D2B875-F069-4B41-8B84-30AB8033FB36}" type="sibTrans" cxnId="{67581CD0-B89E-4DAF-94DB-912F004274AC}">
      <dgm:prSet/>
      <dgm:spPr/>
    </dgm:pt>
    <dgm:pt modelId="{F7A7D609-8ABD-4884-AB66-0C38B45C2EA5}">
      <dgm:prSet phldr="0"/>
      <dgm:spPr/>
      <dgm:t>
        <a:bodyPr/>
        <a:lstStyle/>
        <a:p>
          <a:pPr algn="l">
            <a:lnSpc>
              <a:spcPct val="90000"/>
            </a:lnSpc>
          </a:pPr>
          <a:r>
            <a:rPr lang="en-US" sz="2400" dirty="0">
              <a:latin typeface="Calibri"/>
              <a:ea typeface="Calibri"/>
              <a:cs typeface="Calibri"/>
            </a:rPr>
            <a:t>Multidisciplinary approach</a:t>
          </a:r>
        </a:p>
      </dgm:t>
    </dgm:pt>
    <dgm:pt modelId="{9523B64C-2BAE-4B5F-931D-6D662F278E2F}" type="parTrans" cxnId="{12CA7F6D-227C-4522-B264-39945C759831}">
      <dgm:prSet/>
      <dgm:spPr/>
    </dgm:pt>
    <dgm:pt modelId="{A88B9A2E-BA7D-4795-9C43-8E685E3B949B}" type="sibTrans" cxnId="{12CA7F6D-227C-4522-B264-39945C759831}">
      <dgm:prSet/>
      <dgm:spPr/>
    </dgm:pt>
    <dgm:pt modelId="{3F94C2A3-9311-4919-951A-E60AC57B3FED}">
      <dgm:prSet phldr="0"/>
      <dgm:spPr/>
      <dgm:t>
        <a:bodyPr/>
        <a:lstStyle/>
        <a:p>
          <a:pPr algn="l" rtl="0">
            <a:lnSpc>
              <a:spcPct val="90000"/>
            </a:lnSpc>
          </a:pPr>
          <a:r>
            <a:rPr lang="en-US" sz="2400" dirty="0">
              <a:latin typeface="Calibri"/>
              <a:ea typeface="Calibri"/>
              <a:cs typeface="Calibri"/>
            </a:rPr>
            <a:t>Sustain improvements </a:t>
          </a:r>
        </a:p>
      </dgm:t>
    </dgm:pt>
    <dgm:pt modelId="{148CAC61-0246-4CF6-961F-A6F1CBC5BE35}" type="parTrans" cxnId="{E94DA122-7A76-4C0E-9B48-9F60601556D6}">
      <dgm:prSet/>
      <dgm:spPr/>
    </dgm:pt>
    <dgm:pt modelId="{495C7C0F-D6DA-4C60-954D-695E8A5CABD6}" type="sibTrans" cxnId="{E94DA122-7A76-4C0E-9B48-9F60601556D6}">
      <dgm:prSet/>
      <dgm:spPr/>
    </dgm:pt>
    <dgm:pt modelId="{63A2BD53-9AD5-4E4F-B0A1-ECE5B7C4FEEC}">
      <dgm:prSet phldr="0"/>
      <dgm:spPr/>
      <dgm:t>
        <a:bodyPr/>
        <a:lstStyle/>
        <a:p>
          <a:pPr algn="l">
            <a:lnSpc>
              <a:spcPct val="90000"/>
            </a:lnSpc>
          </a:pPr>
          <a:r>
            <a:rPr lang="en-US" sz="2400" dirty="0">
              <a:latin typeface="Calibri"/>
              <a:ea typeface="Calibri"/>
              <a:cs typeface="Calibri"/>
            </a:rPr>
            <a:t>Monitor patient-level outcomes post-transition</a:t>
          </a:r>
        </a:p>
      </dgm:t>
    </dgm:pt>
    <dgm:pt modelId="{DB6B542D-373D-497E-B1F1-3140931974D4}" type="parTrans" cxnId="{92325863-06FB-48D1-8041-6DCF67583064}">
      <dgm:prSet/>
      <dgm:spPr/>
    </dgm:pt>
    <dgm:pt modelId="{79960AC8-0BA7-4488-9A92-7E141E0205A1}" type="sibTrans" cxnId="{92325863-06FB-48D1-8041-6DCF67583064}">
      <dgm:prSet/>
      <dgm:spPr/>
    </dgm:pt>
    <dgm:pt modelId="{DC3F5FDC-EEF5-47D7-BE29-34429E101373}">
      <dgm:prSet phldr="0"/>
      <dgm:spPr/>
      <dgm:t>
        <a:bodyPr/>
        <a:lstStyle/>
        <a:p>
          <a:pPr algn="l" rtl="0">
            <a:lnSpc>
              <a:spcPct val="90000"/>
            </a:lnSpc>
          </a:pPr>
          <a:r>
            <a:rPr lang="en-US" sz="2400" dirty="0">
              <a:solidFill>
                <a:srgbClr val="000000"/>
              </a:solidFill>
              <a:latin typeface="Calibri"/>
              <a:ea typeface="Calibri"/>
              <a:cs typeface="Calibri"/>
            </a:rPr>
            <a:t>Clear task distribution for team members</a:t>
          </a:r>
        </a:p>
      </dgm:t>
    </dgm:pt>
    <dgm:pt modelId="{97DF6444-1A9E-41AC-8BA5-F13671498F9E}" type="parTrans" cxnId="{152CAFB7-5881-4A73-8464-A07A8E657693}">
      <dgm:prSet/>
      <dgm:spPr/>
    </dgm:pt>
    <dgm:pt modelId="{CD25BF14-C0D1-409E-B579-18B95D85F423}" type="sibTrans" cxnId="{152CAFB7-5881-4A73-8464-A07A8E657693}">
      <dgm:prSet/>
      <dgm:spPr/>
    </dgm:pt>
    <dgm:pt modelId="{455F3CFD-2C94-4A4D-92F7-D25B5160336D}">
      <dgm:prSet phldr="0"/>
      <dgm:spPr/>
      <dgm:t>
        <a:bodyPr/>
        <a:lstStyle/>
        <a:p>
          <a:r>
            <a:rPr lang="en-US" sz="2400" dirty="0">
              <a:solidFill>
                <a:schemeClr val="bg1"/>
              </a:solidFill>
              <a:latin typeface="Calibri"/>
              <a:ea typeface="Calibri"/>
              <a:cs typeface="Calibri"/>
            </a:rPr>
            <a:t>Future directions</a:t>
          </a:r>
          <a:endParaRPr lang="en-US" sz="2400" dirty="0">
            <a:latin typeface="Calibri"/>
            <a:ea typeface="Calibri"/>
            <a:cs typeface="Calibri"/>
          </a:endParaRPr>
        </a:p>
      </dgm:t>
    </dgm:pt>
    <dgm:pt modelId="{AF60F32C-73B9-4BE5-954C-7D846B05B8AF}" type="parTrans" cxnId="{1D8165D0-324E-4922-930D-2F3C49D3B029}">
      <dgm:prSet/>
      <dgm:spPr/>
    </dgm:pt>
    <dgm:pt modelId="{B8B2C51F-324C-4BA6-8F3D-F59C4FCD5CFB}" type="sibTrans" cxnId="{1D8165D0-324E-4922-930D-2F3C49D3B029}">
      <dgm:prSet/>
      <dgm:spPr/>
    </dgm:pt>
    <dgm:pt modelId="{D307B7B5-B038-4015-9B24-3793077EF5E6}">
      <dgm:prSet phldr="0"/>
      <dgm:spPr/>
      <dgm:t>
        <a:bodyPr/>
        <a:lstStyle/>
        <a:p>
          <a:pPr algn="l" rtl="0">
            <a:lnSpc>
              <a:spcPct val="90000"/>
            </a:lnSpc>
          </a:pPr>
          <a:r>
            <a:rPr lang="en-US" sz="1100" dirty="0">
              <a:solidFill>
                <a:schemeClr val="tx1"/>
              </a:solidFill>
              <a:latin typeface="Calibri"/>
              <a:ea typeface="Calibri"/>
              <a:cs typeface="Calibri"/>
            </a:rPr>
            <a:t>Address barriers for those with public health insurance</a:t>
          </a:r>
        </a:p>
      </dgm:t>
    </dgm:pt>
    <dgm:pt modelId="{00FC1DAA-6018-42D2-876B-478EC0F54C0D}" type="parTrans" cxnId="{871A8D6E-15E6-4911-BD0B-D9647D709E66}">
      <dgm:prSet/>
      <dgm:spPr/>
    </dgm:pt>
    <dgm:pt modelId="{7D54D416-D2AA-47D7-B104-A49CBB8F75CA}" type="sibTrans" cxnId="{871A8D6E-15E6-4911-BD0B-D9647D709E66}">
      <dgm:prSet/>
      <dgm:spPr/>
    </dgm:pt>
    <dgm:pt modelId="{310D217B-C97B-4851-83CB-7678193B9DB0}" type="pres">
      <dgm:prSet presAssocID="{9A782C24-6EE6-42E4-9D08-D6065B48F45B}" presName="linear" presStyleCnt="0">
        <dgm:presLayoutVars>
          <dgm:animLvl val="lvl"/>
          <dgm:resizeHandles val="exact"/>
        </dgm:presLayoutVars>
      </dgm:prSet>
      <dgm:spPr/>
    </dgm:pt>
    <dgm:pt modelId="{BBAF314E-0ADA-45A8-B05F-C2BE32C24C38}" type="pres">
      <dgm:prSet presAssocID="{EB44719D-F574-48CE-AC74-7B492E1365F5}" presName="parentText" presStyleLbl="node1" presStyleIdx="0" presStyleCnt="2">
        <dgm:presLayoutVars>
          <dgm:chMax val="0"/>
          <dgm:bulletEnabled val="1"/>
        </dgm:presLayoutVars>
      </dgm:prSet>
      <dgm:spPr/>
    </dgm:pt>
    <dgm:pt modelId="{3CE6328A-5581-4678-A617-7A01AF01E435}" type="pres">
      <dgm:prSet presAssocID="{EB44719D-F574-48CE-AC74-7B492E1365F5}" presName="childText" presStyleLbl="revTx" presStyleIdx="0" presStyleCnt="2">
        <dgm:presLayoutVars>
          <dgm:bulletEnabled val="1"/>
        </dgm:presLayoutVars>
      </dgm:prSet>
      <dgm:spPr/>
    </dgm:pt>
    <dgm:pt modelId="{D5DBD32E-040E-4CF5-BFFF-4758970B3AB9}" type="pres">
      <dgm:prSet presAssocID="{455F3CFD-2C94-4A4D-92F7-D25B5160336D}" presName="parentText" presStyleLbl="node1" presStyleIdx="1" presStyleCnt="2">
        <dgm:presLayoutVars>
          <dgm:chMax val="0"/>
          <dgm:bulletEnabled val="1"/>
        </dgm:presLayoutVars>
      </dgm:prSet>
      <dgm:spPr/>
    </dgm:pt>
    <dgm:pt modelId="{3EDA667B-DA0C-4D19-B141-96C0A751B0CA}" type="pres">
      <dgm:prSet presAssocID="{455F3CFD-2C94-4A4D-92F7-D25B5160336D}" presName="childText" presStyleLbl="revTx" presStyleIdx="1" presStyleCnt="2">
        <dgm:presLayoutVars>
          <dgm:bulletEnabled val="1"/>
        </dgm:presLayoutVars>
      </dgm:prSet>
      <dgm:spPr/>
    </dgm:pt>
  </dgm:ptLst>
  <dgm:cxnLst>
    <dgm:cxn modelId="{D150FA00-BCFB-4920-9048-0EC0B4F2ADF0}" type="presOf" srcId="{EB44719D-F574-48CE-AC74-7B492E1365F5}" destId="{BBAF314E-0ADA-45A8-B05F-C2BE32C24C38}" srcOrd="0" destOrd="0" presId="urn:microsoft.com/office/officeart/2005/8/layout/vList2"/>
    <dgm:cxn modelId="{72D4F420-8CD2-4A0C-BB4C-2030F97C5320}" type="presOf" srcId="{455F3CFD-2C94-4A4D-92F7-D25B5160336D}" destId="{D5DBD32E-040E-4CF5-BFFF-4758970B3AB9}" srcOrd="0" destOrd="0" presId="urn:microsoft.com/office/officeart/2005/8/layout/vList2"/>
    <dgm:cxn modelId="{E94DA122-7A76-4C0E-9B48-9F60601556D6}" srcId="{455F3CFD-2C94-4A4D-92F7-D25B5160336D}" destId="{3F94C2A3-9311-4919-951A-E60AC57B3FED}" srcOrd="0" destOrd="0" parTransId="{148CAC61-0246-4CF6-961F-A6F1CBC5BE35}" sibTransId="{495C7C0F-D6DA-4C60-954D-695E8A5CABD6}"/>
    <dgm:cxn modelId="{3927C734-5AE7-43C0-81C4-B9E512151DF6}" type="presOf" srcId="{DC3F5FDC-EEF5-47D7-BE29-34429E101373}" destId="{3CE6328A-5581-4678-A617-7A01AF01E435}" srcOrd="0" destOrd="4" presId="urn:microsoft.com/office/officeart/2005/8/layout/vList2"/>
    <dgm:cxn modelId="{ECB12335-76CF-4BA2-82C9-F911CFE52963}" type="presOf" srcId="{63A2BD53-9AD5-4E4F-B0A1-ECE5B7C4FEEC}" destId="{3EDA667B-DA0C-4D19-B141-96C0A751B0CA}" srcOrd="0" destOrd="1" presId="urn:microsoft.com/office/officeart/2005/8/layout/vList2"/>
    <dgm:cxn modelId="{92325863-06FB-48D1-8041-6DCF67583064}" srcId="{455F3CFD-2C94-4A4D-92F7-D25B5160336D}" destId="{63A2BD53-9AD5-4E4F-B0A1-ECE5B7C4FEEC}" srcOrd="1" destOrd="0" parTransId="{DB6B542D-373D-497E-B1F1-3140931974D4}" sibTransId="{79960AC8-0BA7-4488-9A92-7E141E0205A1}"/>
    <dgm:cxn modelId="{12CA7F6D-227C-4522-B264-39945C759831}" srcId="{73F32DD5-FEA2-4372-B100-7222F7C7B9D4}" destId="{F7A7D609-8ABD-4884-AB66-0C38B45C2EA5}" srcOrd="1" destOrd="0" parTransId="{9523B64C-2BAE-4B5F-931D-6D662F278E2F}" sibTransId="{A88B9A2E-BA7D-4795-9C43-8E685E3B949B}"/>
    <dgm:cxn modelId="{871A8D6E-15E6-4911-BD0B-D9647D709E66}" srcId="{455F3CFD-2C94-4A4D-92F7-D25B5160336D}" destId="{D307B7B5-B038-4015-9B24-3793077EF5E6}" srcOrd="2" destOrd="0" parTransId="{00FC1DAA-6018-42D2-876B-478EC0F54C0D}" sibTransId="{7D54D416-D2AA-47D7-B104-A49CBB8F75CA}"/>
    <dgm:cxn modelId="{D807487E-8E4A-4849-B65E-A2BF510C0CF4}" srcId="{9A782C24-6EE6-42E4-9D08-D6065B48F45B}" destId="{EB44719D-F574-48CE-AC74-7B492E1365F5}" srcOrd="0" destOrd="0" parTransId="{5FDE1AB3-1B85-43E3-B24C-EDC6246D3515}" sibTransId="{F8FB85A8-D11F-4641-8E0C-A196B312CCD6}"/>
    <dgm:cxn modelId="{6EA64E95-C7D7-4A3B-9E27-2DE627BE388B}" srcId="{EB44719D-F574-48CE-AC74-7B492E1365F5}" destId="{91ACCB94-9D5C-49E8-8BD8-5B3927B10A4A}" srcOrd="0" destOrd="0" parTransId="{803D88C3-86CB-40CC-9CD1-7C266E6D788A}" sibTransId="{59183227-146C-4695-A0F9-BDC2FF4C31DA}"/>
    <dgm:cxn modelId="{AD3078B0-87B9-4C59-A036-DD7F8AD74116}" type="presOf" srcId="{9A782C24-6EE6-42E4-9D08-D6065B48F45B}" destId="{310D217B-C97B-4851-83CB-7678193B9DB0}" srcOrd="0" destOrd="0" presId="urn:microsoft.com/office/officeart/2005/8/layout/vList2"/>
    <dgm:cxn modelId="{152CAFB7-5881-4A73-8464-A07A8E657693}" srcId="{73F32DD5-FEA2-4372-B100-7222F7C7B9D4}" destId="{DC3F5FDC-EEF5-47D7-BE29-34429E101373}" srcOrd="2" destOrd="0" parTransId="{97DF6444-1A9E-41AC-8BA5-F13671498F9E}" sibTransId="{CD25BF14-C0D1-409E-B579-18B95D85F423}"/>
    <dgm:cxn modelId="{0220C2BA-5521-470D-A79D-1E5357865E93}" srcId="{EB44719D-F574-48CE-AC74-7B492E1365F5}" destId="{73F32DD5-FEA2-4372-B100-7222F7C7B9D4}" srcOrd="1" destOrd="0" parTransId="{B6A08260-D8CB-4732-8E36-36E4C9077BDE}" sibTransId="{1D20736E-64DE-4374-B709-1BCB6A03BBE1}"/>
    <dgm:cxn modelId="{482355CB-342E-4CE5-9A6D-4A0C40773BAF}" type="presOf" srcId="{F7A7D609-8ABD-4884-AB66-0C38B45C2EA5}" destId="{3CE6328A-5581-4678-A617-7A01AF01E435}" srcOrd="0" destOrd="3" presId="urn:microsoft.com/office/officeart/2005/8/layout/vList2"/>
    <dgm:cxn modelId="{67581CD0-B89E-4DAF-94DB-912F004274AC}" srcId="{73F32DD5-FEA2-4372-B100-7222F7C7B9D4}" destId="{BE6CC19B-209D-4936-ACCE-CA23CCDF8245}" srcOrd="0" destOrd="0" parTransId="{99A8A9E4-E894-432C-923B-0CF0FDF77AF7}" sibTransId="{48D2B875-F069-4B41-8B84-30AB8033FB36}"/>
    <dgm:cxn modelId="{1D8165D0-324E-4922-930D-2F3C49D3B029}" srcId="{9A782C24-6EE6-42E4-9D08-D6065B48F45B}" destId="{455F3CFD-2C94-4A4D-92F7-D25B5160336D}" srcOrd="1" destOrd="0" parTransId="{AF60F32C-73B9-4BE5-954C-7D846B05B8AF}" sibTransId="{B8B2C51F-324C-4BA6-8F3D-F59C4FCD5CFB}"/>
    <dgm:cxn modelId="{1838DEE2-D877-4299-8A88-B79CC4E2CEAC}" type="presOf" srcId="{D307B7B5-B038-4015-9B24-3793077EF5E6}" destId="{3EDA667B-DA0C-4D19-B141-96C0A751B0CA}" srcOrd="0" destOrd="2" presId="urn:microsoft.com/office/officeart/2005/8/layout/vList2"/>
    <dgm:cxn modelId="{8D7BE1E4-1E64-4383-90B9-BA3E232F05E2}" type="presOf" srcId="{BE6CC19B-209D-4936-ACCE-CA23CCDF8245}" destId="{3CE6328A-5581-4678-A617-7A01AF01E435}" srcOrd="0" destOrd="2" presId="urn:microsoft.com/office/officeart/2005/8/layout/vList2"/>
    <dgm:cxn modelId="{6933E4F9-4A08-49AE-A8D3-E67B9B08C6D9}" type="presOf" srcId="{91ACCB94-9D5C-49E8-8BD8-5B3927B10A4A}" destId="{3CE6328A-5581-4678-A617-7A01AF01E435}" srcOrd="0" destOrd="0" presId="urn:microsoft.com/office/officeart/2005/8/layout/vList2"/>
    <dgm:cxn modelId="{483978FC-42FD-4E4C-8193-3BAA0E79D00B}" type="presOf" srcId="{3F94C2A3-9311-4919-951A-E60AC57B3FED}" destId="{3EDA667B-DA0C-4D19-B141-96C0A751B0CA}" srcOrd="0" destOrd="0" presId="urn:microsoft.com/office/officeart/2005/8/layout/vList2"/>
    <dgm:cxn modelId="{DC807DFC-281A-4A51-A5EB-2513C18C9997}" type="presOf" srcId="{73F32DD5-FEA2-4372-B100-7222F7C7B9D4}" destId="{3CE6328A-5581-4678-A617-7A01AF01E435}" srcOrd="0" destOrd="1" presId="urn:microsoft.com/office/officeart/2005/8/layout/vList2"/>
    <dgm:cxn modelId="{514FD8E6-7A89-433D-942B-4ADAFDFA6EC4}" type="presParOf" srcId="{310D217B-C97B-4851-83CB-7678193B9DB0}" destId="{BBAF314E-0ADA-45A8-B05F-C2BE32C24C38}" srcOrd="0" destOrd="0" presId="urn:microsoft.com/office/officeart/2005/8/layout/vList2"/>
    <dgm:cxn modelId="{3EFF02DD-4E87-4811-97F7-E08F39BB7BA1}" type="presParOf" srcId="{310D217B-C97B-4851-83CB-7678193B9DB0}" destId="{3CE6328A-5581-4678-A617-7A01AF01E435}" srcOrd="1" destOrd="0" presId="urn:microsoft.com/office/officeart/2005/8/layout/vList2"/>
    <dgm:cxn modelId="{825E6BAA-77DD-4105-93CC-419131A0DF0D}" type="presParOf" srcId="{310D217B-C97B-4851-83CB-7678193B9DB0}" destId="{D5DBD32E-040E-4CF5-BFFF-4758970B3AB9}" srcOrd="2" destOrd="0" presId="urn:microsoft.com/office/officeart/2005/8/layout/vList2"/>
    <dgm:cxn modelId="{901E72B2-E72C-44FE-95D8-F46CA698F83A}" type="presParOf" srcId="{310D217B-C97B-4851-83CB-7678193B9DB0}" destId="{3EDA667B-DA0C-4D19-B141-96C0A751B0CA}"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342E8C9-4541-CE43-B82C-AC60F4F98E0C}" type="doc">
      <dgm:prSet loTypeId="urn:microsoft.com/office/officeart/2005/8/layout/radial1" loCatId="" qsTypeId="urn:microsoft.com/office/officeart/2005/8/quickstyle/simple2" qsCatId="simple" csTypeId="urn:microsoft.com/office/officeart/2005/8/colors/colorful5" csCatId="colorful" phldr="1"/>
      <dgm:spPr/>
      <dgm:t>
        <a:bodyPr/>
        <a:lstStyle/>
        <a:p>
          <a:endParaRPr lang="en-US"/>
        </a:p>
      </dgm:t>
    </dgm:pt>
    <dgm:pt modelId="{13AC2174-5977-8245-9B69-770A3B282424}">
      <dgm:prSet phldrT="[Text]"/>
      <dgm:spPr/>
      <dgm:t>
        <a:bodyPr/>
        <a:lstStyle/>
        <a:p>
          <a:pPr rtl="0"/>
          <a:r>
            <a:rPr lang="en-US" b="1" dirty="0">
              <a:latin typeface="Calibri Light" panose="020F0302020204030204"/>
            </a:rPr>
            <a:t>Patients &amp; Families</a:t>
          </a:r>
          <a:endParaRPr lang="en-US" b="1" dirty="0"/>
        </a:p>
      </dgm:t>
    </dgm:pt>
    <dgm:pt modelId="{527A7161-8398-7D4D-A9BA-CB2AD6C6E235}" type="parTrans" cxnId="{6B98298A-25F4-9246-A809-1E5CF261BC1D}">
      <dgm:prSet/>
      <dgm:spPr/>
      <dgm:t>
        <a:bodyPr/>
        <a:lstStyle/>
        <a:p>
          <a:endParaRPr lang="en-US"/>
        </a:p>
      </dgm:t>
    </dgm:pt>
    <dgm:pt modelId="{2F1943DD-4628-7E4F-8459-E7DB35B86047}" type="sibTrans" cxnId="{6B98298A-25F4-9246-A809-1E5CF261BC1D}">
      <dgm:prSet/>
      <dgm:spPr/>
      <dgm:t>
        <a:bodyPr/>
        <a:lstStyle/>
        <a:p>
          <a:endParaRPr lang="en-US"/>
        </a:p>
      </dgm:t>
    </dgm:pt>
    <dgm:pt modelId="{1F04B108-AABF-F44E-8360-2BC2B821252D}">
      <dgm:prSet phldrT="[Text]" custT="0"/>
      <dgm:spPr/>
      <dgm:t>
        <a:bodyPr/>
        <a:lstStyle/>
        <a:p>
          <a:pPr rtl="0"/>
          <a:r>
            <a:rPr lang="en-US" sz="1800" b="0" dirty="0">
              <a:latin typeface="Calibri"/>
              <a:ea typeface="Calibri"/>
              <a:cs typeface="Calibri"/>
            </a:rPr>
            <a:t>Certified Diabetes Care &amp; Education Specialists</a:t>
          </a:r>
        </a:p>
      </dgm:t>
    </dgm:pt>
    <dgm:pt modelId="{D686DBEF-B3BC-4A4C-A745-856058DD90F5}" type="parTrans" cxnId="{52464FF6-247B-F341-B6DE-A18B2FE3D54E}">
      <dgm:prSet/>
      <dgm:spPr/>
      <dgm:t>
        <a:bodyPr/>
        <a:lstStyle/>
        <a:p>
          <a:endParaRPr lang="en-US"/>
        </a:p>
      </dgm:t>
    </dgm:pt>
    <dgm:pt modelId="{26153CD7-E294-254B-A65A-229C6ADE0703}" type="sibTrans" cxnId="{52464FF6-247B-F341-B6DE-A18B2FE3D54E}">
      <dgm:prSet/>
      <dgm:spPr/>
      <dgm:t>
        <a:bodyPr/>
        <a:lstStyle/>
        <a:p>
          <a:endParaRPr lang="en-US"/>
        </a:p>
      </dgm:t>
    </dgm:pt>
    <dgm:pt modelId="{125EC72B-D189-6A43-A24E-8A400AF4782F}">
      <dgm:prSet phldrT="[Text]" phldr="0"/>
      <dgm:spPr/>
      <dgm:t>
        <a:bodyPr/>
        <a:lstStyle/>
        <a:p>
          <a:pPr rtl="0"/>
          <a:r>
            <a:rPr lang="en-US" sz="1800" b="0">
              <a:latin typeface="Calibri"/>
              <a:ea typeface="Calibri"/>
              <a:cs typeface="Calibri"/>
            </a:rPr>
            <a:t>Physicians/Advance Practice Providers</a:t>
          </a:r>
          <a:endParaRPr lang="en-US" sz="1800" b="0" dirty="0">
            <a:latin typeface="Calibri"/>
            <a:ea typeface="Calibri"/>
            <a:cs typeface="Calibri"/>
          </a:endParaRPr>
        </a:p>
      </dgm:t>
    </dgm:pt>
    <dgm:pt modelId="{B61AF25B-F06E-304F-9DA2-957C84FFAE0F}" type="parTrans" cxnId="{C3AD2597-8DB7-3B4E-9453-E8BE9CCBB4E7}">
      <dgm:prSet/>
      <dgm:spPr/>
      <dgm:t>
        <a:bodyPr/>
        <a:lstStyle/>
        <a:p>
          <a:endParaRPr lang="en-US"/>
        </a:p>
      </dgm:t>
    </dgm:pt>
    <dgm:pt modelId="{E1A68E6C-78FC-804E-BEC9-A7F12A2E6D45}" type="sibTrans" cxnId="{C3AD2597-8DB7-3B4E-9453-E8BE9CCBB4E7}">
      <dgm:prSet/>
      <dgm:spPr/>
      <dgm:t>
        <a:bodyPr/>
        <a:lstStyle/>
        <a:p>
          <a:endParaRPr lang="en-US"/>
        </a:p>
      </dgm:t>
    </dgm:pt>
    <dgm:pt modelId="{122634F0-F835-FD40-8872-144FF12746A8}">
      <dgm:prSet phldrT="[Text]" phldr="0"/>
      <dgm:spPr/>
      <dgm:t>
        <a:bodyPr/>
        <a:lstStyle/>
        <a:p>
          <a:pPr rtl="0"/>
          <a:r>
            <a:rPr lang="en-US" sz="1800" b="0">
              <a:latin typeface="Calibri"/>
              <a:ea typeface="Calibri"/>
              <a:cs typeface="Calibri"/>
            </a:rPr>
            <a:t>Medical Assistants</a:t>
          </a:r>
          <a:endParaRPr lang="en-US" sz="1800" b="0" dirty="0">
            <a:latin typeface="Calibri"/>
            <a:ea typeface="Calibri"/>
            <a:cs typeface="Calibri"/>
          </a:endParaRPr>
        </a:p>
      </dgm:t>
    </dgm:pt>
    <dgm:pt modelId="{E8A7EE81-FF8E-FA4E-9A29-2E49F8D42171}" type="parTrans" cxnId="{88A64FFA-0E67-D540-A995-6237E061CFE5}">
      <dgm:prSet/>
      <dgm:spPr/>
      <dgm:t>
        <a:bodyPr/>
        <a:lstStyle/>
        <a:p>
          <a:endParaRPr lang="en-US"/>
        </a:p>
      </dgm:t>
    </dgm:pt>
    <dgm:pt modelId="{C28C418A-BB7E-6149-809C-29BE2F0F742D}" type="sibTrans" cxnId="{88A64FFA-0E67-D540-A995-6237E061CFE5}">
      <dgm:prSet/>
      <dgm:spPr/>
      <dgm:t>
        <a:bodyPr/>
        <a:lstStyle/>
        <a:p>
          <a:endParaRPr lang="en-US"/>
        </a:p>
      </dgm:t>
    </dgm:pt>
    <dgm:pt modelId="{0B818431-FB1B-1C44-80DC-4CED74AF9AD7}">
      <dgm:prSet phldrT="[Text]"/>
      <dgm:spPr/>
      <dgm:t>
        <a:bodyPr/>
        <a:lstStyle/>
        <a:p>
          <a:pPr rtl="0"/>
          <a:r>
            <a:rPr lang="en-US" sz="1800" b="0">
              <a:latin typeface="Calibri"/>
              <a:ea typeface="Calibri"/>
              <a:cs typeface="Calibri"/>
            </a:rPr>
            <a:t>Social Workers</a:t>
          </a:r>
          <a:endParaRPr lang="en-US" sz="1800" b="0" dirty="0">
            <a:latin typeface="Calibri"/>
            <a:ea typeface="Calibri"/>
            <a:cs typeface="Calibri"/>
          </a:endParaRPr>
        </a:p>
      </dgm:t>
    </dgm:pt>
    <dgm:pt modelId="{E463D266-92D6-7D4E-966B-4FC93065AC93}" type="parTrans" cxnId="{E0439F83-EDFF-E246-BF5A-8F0FC00CB3E3}">
      <dgm:prSet/>
      <dgm:spPr/>
      <dgm:t>
        <a:bodyPr/>
        <a:lstStyle/>
        <a:p>
          <a:endParaRPr lang="en-US"/>
        </a:p>
      </dgm:t>
    </dgm:pt>
    <dgm:pt modelId="{31CB6918-3447-394A-B6F4-C44DC3B40958}" type="sibTrans" cxnId="{E0439F83-EDFF-E246-BF5A-8F0FC00CB3E3}">
      <dgm:prSet/>
      <dgm:spPr/>
      <dgm:t>
        <a:bodyPr/>
        <a:lstStyle/>
        <a:p>
          <a:endParaRPr lang="en-US"/>
        </a:p>
      </dgm:t>
    </dgm:pt>
    <dgm:pt modelId="{E51B88CA-53CD-9243-B22A-9F5994F5A1E7}">
      <dgm:prSet phldrT="[Text]" phldr="0"/>
      <dgm:spPr/>
      <dgm:t>
        <a:bodyPr/>
        <a:lstStyle/>
        <a:p>
          <a:r>
            <a:rPr lang="en-US" sz="1800" b="0">
              <a:latin typeface="Calibri"/>
              <a:ea typeface="Calibri"/>
              <a:cs typeface="Calibri"/>
            </a:rPr>
            <a:t>Psychologists</a:t>
          </a:r>
          <a:endParaRPr lang="en-US" sz="1800" b="0" dirty="0">
            <a:latin typeface="Calibri"/>
            <a:ea typeface="Calibri"/>
            <a:cs typeface="Calibri"/>
          </a:endParaRPr>
        </a:p>
      </dgm:t>
    </dgm:pt>
    <dgm:pt modelId="{9ED61FCB-38CF-3841-B9B8-739276FE2DB9}" type="parTrans" cxnId="{40AB67FC-1838-7342-9D86-94A77AC31BDC}">
      <dgm:prSet/>
      <dgm:spPr/>
      <dgm:t>
        <a:bodyPr/>
        <a:lstStyle/>
        <a:p>
          <a:endParaRPr lang="en-US"/>
        </a:p>
      </dgm:t>
    </dgm:pt>
    <dgm:pt modelId="{A10532F2-FDA1-2149-B84E-ED20CC6F129D}" type="sibTrans" cxnId="{40AB67FC-1838-7342-9D86-94A77AC31BDC}">
      <dgm:prSet/>
      <dgm:spPr/>
      <dgm:t>
        <a:bodyPr/>
        <a:lstStyle/>
        <a:p>
          <a:endParaRPr lang="en-US"/>
        </a:p>
      </dgm:t>
    </dgm:pt>
    <dgm:pt modelId="{5D450D93-856E-474B-B7ED-4A53BBB2DE0A}">
      <dgm:prSet phldr="0"/>
      <dgm:spPr/>
      <dgm:t>
        <a:bodyPr/>
        <a:lstStyle/>
        <a:p>
          <a:r>
            <a:rPr lang="en-US" sz="1800" b="0">
              <a:latin typeface="Calibri"/>
              <a:ea typeface="Calibri"/>
              <a:cs typeface="Calibri"/>
            </a:rPr>
            <a:t>Ambulatory Service Representatives</a:t>
          </a:r>
          <a:endParaRPr lang="en-US" sz="1800" b="0" dirty="0">
            <a:latin typeface="Calibri"/>
            <a:ea typeface="Calibri"/>
            <a:cs typeface="Calibri"/>
          </a:endParaRPr>
        </a:p>
      </dgm:t>
    </dgm:pt>
    <dgm:pt modelId="{3603D984-BD2E-45FE-9189-264AA6BAA4D0}" type="parTrans" cxnId="{EC2D0E93-BC52-466C-8E6B-B6310F00E03C}">
      <dgm:prSet/>
      <dgm:spPr/>
      <dgm:t>
        <a:bodyPr/>
        <a:lstStyle/>
        <a:p>
          <a:endParaRPr lang="en-US"/>
        </a:p>
      </dgm:t>
    </dgm:pt>
    <dgm:pt modelId="{69B3888E-E507-4B7F-BF21-B9BA0734983F}" type="sibTrans" cxnId="{EC2D0E93-BC52-466C-8E6B-B6310F00E03C}">
      <dgm:prSet/>
      <dgm:spPr/>
      <dgm:t>
        <a:bodyPr/>
        <a:lstStyle/>
        <a:p>
          <a:endParaRPr lang="en-US"/>
        </a:p>
      </dgm:t>
    </dgm:pt>
    <dgm:pt modelId="{0CEAF175-C8CB-4D95-B7D5-A4456A0107B5}">
      <dgm:prSet phldr="0"/>
      <dgm:spPr/>
      <dgm:t>
        <a:bodyPr/>
        <a:lstStyle/>
        <a:p>
          <a:pPr rtl="0"/>
          <a:r>
            <a:rPr lang="en-US" sz="1800" b="0" dirty="0">
              <a:latin typeface="Calibri"/>
              <a:ea typeface="Calibri"/>
              <a:cs typeface="Calibri"/>
            </a:rPr>
            <a:t>Ambulatory Leaders</a:t>
          </a:r>
        </a:p>
      </dgm:t>
    </dgm:pt>
    <dgm:pt modelId="{3CC0F881-A50A-4BF7-AA8F-820EBE4DE119}" type="parTrans" cxnId="{53FBEF48-F9CB-4864-98F9-D39406F7D3A2}">
      <dgm:prSet/>
      <dgm:spPr/>
      <dgm:t>
        <a:bodyPr/>
        <a:lstStyle/>
        <a:p>
          <a:endParaRPr lang="en-US"/>
        </a:p>
      </dgm:t>
    </dgm:pt>
    <dgm:pt modelId="{B5DDAB4A-68B8-43F4-940C-2FCC72BF25A1}" type="sibTrans" cxnId="{53FBEF48-F9CB-4864-98F9-D39406F7D3A2}">
      <dgm:prSet/>
      <dgm:spPr/>
      <dgm:t>
        <a:bodyPr/>
        <a:lstStyle/>
        <a:p>
          <a:endParaRPr lang="en-US"/>
        </a:p>
      </dgm:t>
    </dgm:pt>
    <dgm:pt modelId="{746A1BF7-8F42-4E69-A44B-927034CB6664}" type="pres">
      <dgm:prSet presAssocID="{1342E8C9-4541-CE43-B82C-AC60F4F98E0C}" presName="cycle" presStyleCnt="0">
        <dgm:presLayoutVars>
          <dgm:chMax val="1"/>
          <dgm:dir/>
          <dgm:animLvl val="ctr"/>
          <dgm:resizeHandles val="exact"/>
        </dgm:presLayoutVars>
      </dgm:prSet>
      <dgm:spPr/>
    </dgm:pt>
    <dgm:pt modelId="{AA3DEB76-C7BB-4EFE-9512-02F6A0DE0632}" type="pres">
      <dgm:prSet presAssocID="{13AC2174-5977-8245-9B69-770A3B282424}" presName="centerShape" presStyleLbl="node0" presStyleIdx="0" presStyleCnt="1" custScaleX="133279" custScaleY="126960"/>
      <dgm:spPr/>
    </dgm:pt>
    <dgm:pt modelId="{227EE875-051C-4BC3-9EBC-E59775F338B9}" type="pres">
      <dgm:prSet presAssocID="{D686DBEF-B3BC-4A4C-A745-856058DD90F5}" presName="Name9" presStyleLbl="parChTrans1D2" presStyleIdx="0" presStyleCnt="7"/>
      <dgm:spPr/>
    </dgm:pt>
    <dgm:pt modelId="{F2220E56-3F4D-489B-B642-B0031DDDA63C}" type="pres">
      <dgm:prSet presAssocID="{D686DBEF-B3BC-4A4C-A745-856058DD90F5}" presName="connTx" presStyleLbl="parChTrans1D2" presStyleIdx="0" presStyleCnt="7"/>
      <dgm:spPr/>
    </dgm:pt>
    <dgm:pt modelId="{4FE33825-9D4B-4ABF-BFC8-D751FD19600D}" type="pres">
      <dgm:prSet presAssocID="{1F04B108-AABF-F44E-8360-2BC2B821252D}" presName="node" presStyleLbl="node1" presStyleIdx="0" presStyleCnt="7">
        <dgm:presLayoutVars>
          <dgm:bulletEnabled val="1"/>
        </dgm:presLayoutVars>
      </dgm:prSet>
      <dgm:spPr/>
    </dgm:pt>
    <dgm:pt modelId="{25EA592D-5148-4AF3-A96F-54A5F4EF6C85}" type="pres">
      <dgm:prSet presAssocID="{B61AF25B-F06E-304F-9DA2-957C84FFAE0F}" presName="Name9" presStyleLbl="parChTrans1D2" presStyleIdx="1" presStyleCnt="7"/>
      <dgm:spPr/>
    </dgm:pt>
    <dgm:pt modelId="{C60CDE7F-76E8-4D7B-A62E-1F925245DA7A}" type="pres">
      <dgm:prSet presAssocID="{B61AF25B-F06E-304F-9DA2-957C84FFAE0F}" presName="connTx" presStyleLbl="parChTrans1D2" presStyleIdx="1" presStyleCnt="7"/>
      <dgm:spPr/>
    </dgm:pt>
    <dgm:pt modelId="{BA8636D5-7787-48FE-BE1D-52A9CAD8692D}" type="pres">
      <dgm:prSet presAssocID="{125EC72B-D189-6A43-A24E-8A400AF4782F}" presName="node" presStyleLbl="node1" presStyleIdx="1" presStyleCnt="7" custRadScaleRad="100087" custRadScaleInc="1655">
        <dgm:presLayoutVars>
          <dgm:bulletEnabled val="1"/>
        </dgm:presLayoutVars>
      </dgm:prSet>
      <dgm:spPr/>
    </dgm:pt>
    <dgm:pt modelId="{C060BD1E-F598-4BE6-8E0F-1FC462076C59}" type="pres">
      <dgm:prSet presAssocID="{E8A7EE81-FF8E-FA4E-9A29-2E49F8D42171}" presName="Name9" presStyleLbl="parChTrans1D2" presStyleIdx="2" presStyleCnt="7"/>
      <dgm:spPr/>
    </dgm:pt>
    <dgm:pt modelId="{612A3D90-584E-4EEA-9C1F-6F2A1B6124F2}" type="pres">
      <dgm:prSet presAssocID="{E8A7EE81-FF8E-FA4E-9A29-2E49F8D42171}" presName="connTx" presStyleLbl="parChTrans1D2" presStyleIdx="2" presStyleCnt="7"/>
      <dgm:spPr/>
    </dgm:pt>
    <dgm:pt modelId="{B04EA3E0-1A68-4FF8-9F96-A876883C71E0}" type="pres">
      <dgm:prSet presAssocID="{122634F0-F835-FD40-8872-144FF12746A8}" presName="node" presStyleLbl="node1" presStyleIdx="2" presStyleCnt="7">
        <dgm:presLayoutVars>
          <dgm:bulletEnabled val="1"/>
        </dgm:presLayoutVars>
      </dgm:prSet>
      <dgm:spPr/>
    </dgm:pt>
    <dgm:pt modelId="{E6D52495-5B04-4BF0-BA7F-2839F4C18127}" type="pres">
      <dgm:prSet presAssocID="{3603D984-BD2E-45FE-9189-264AA6BAA4D0}" presName="Name9" presStyleLbl="parChTrans1D2" presStyleIdx="3" presStyleCnt="7"/>
      <dgm:spPr/>
    </dgm:pt>
    <dgm:pt modelId="{15BE96BC-745E-4F09-B454-0B3E6194A26E}" type="pres">
      <dgm:prSet presAssocID="{3603D984-BD2E-45FE-9189-264AA6BAA4D0}" presName="connTx" presStyleLbl="parChTrans1D2" presStyleIdx="3" presStyleCnt="7"/>
      <dgm:spPr/>
    </dgm:pt>
    <dgm:pt modelId="{3C4249EC-3D2F-4874-80BF-507E26A9A242}" type="pres">
      <dgm:prSet presAssocID="{5D450D93-856E-474B-B7ED-4A53BBB2DE0A}" presName="node" presStyleLbl="node1" presStyleIdx="3" presStyleCnt="7">
        <dgm:presLayoutVars>
          <dgm:bulletEnabled val="1"/>
        </dgm:presLayoutVars>
      </dgm:prSet>
      <dgm:spPr/>
    </dgm:pt>
    <dgm:pt modelId="{C480DA52-DB2C-42B7-B198-A6C5E998C7F8}" type="pres">
      <dgm:prSet presAssocID="{E463D266-92D6-7D4E-966B-4FC93065AC93}" presName="Name9" presStyleLbl="parChTrans1D2" presStyleIdx="4" presStyleCnt="7"/>
      <dgm:spPr/>
    </dgm:pt>
    <dgm:pt modelId="{B4092780-3526-4157-89F5-E26DF9FBCD08}" type="pres">
      <dgm:prSet presAssocID="{E463D266-92D6-7D4E-966B-4FC93065AC93}" presName="connTx" presStyleLbl="parChTrans1D2" presStyleIdx="4" presStyleCnt="7"/>
      <dgm:spPr/>
    </dgm:pt>
    <dgm:pt modelId="{A80961D2-A44E-4E45-935C-372033D3D5CB}" type="pres">
      <dgm:prSet presAssocID="{0B818431-FB1B-1C44-80DC-4CED74AF9AD7}" presName="node" presStyleLbl="node1" presStyleIdx="4" presStyleCnt="7">
        <dgm:presLayoutVars>
          <dgm:bulletEnabled val="1"/>
        </dgm:presLayoutVars>
      </dgm:prSet>
      <dgm:spPr/>
    </dgm:pt>
    <dgm:pt modelId="{A544F1A8-03B6-4683-919D-7249B44F3F05}" type="pres">
      <dgm:prSet presAssocID="{9ED61FCB-38CF-3841-B9B8-739276FE2DB9}" presName="Name9" presStyleLbl="parChTrans1D2" presStyleIdx="5" presStyleCnt="7"/>
      <dgm:spPr/>
    </dgm:pt>
    <dgm:pt modelId="{82636A49-B01D-4071-BE5B-368EE83F034D}" type="pres">
      <dgm:prSet presAssocID="{9ED61FCB-38CF-3841-B9B8-739276FE2DB9}" presName="connTx" presStyleLbl="parChTrans1D2" presStyleIdx="5" presStyleCnt="7"/>
      <dgm:spPr/>
    </dgm:pt>
    <dgm:pt modelId="{201B08F8-83AF-4E7F-8F13-E5D4D558D334}" type="pres">
      <dgm:prSet presAssocID="{E51B88CA-53CD-9243-B22A-9F5994F5A1E7}" presName="node" presStyleLbl="node1" presStyleIdx="5" presStyleCnt="7">
        <dgm:presLayoutVars>
          <dgm:bulletEnabled val="1"/>
        </dgm:presLayoutVars>
      </dgm:prSet>
      <dgm:spPr/>
    </dgm:pt>
    <dgm:pt modelId="{4EB828DE-ABF4-473A-8331-74E15BF1C03F}" type="pres">
      <dgm:prSet presAssocID="{3CC0F881-A50A-4BF7-AA8F-820EBE4DE119}" presName="Name9" presStyleLbl="parChTrans1D2" presStyleIdx="6" presStyleCnt="7"/>
      <dgm:spPr/>
    </dgm:pt>
    <dgm:pt modelId="{3F3F07F8-2732-484C-A44A-01697643D096}" type="pres">
      <dgm:prSet presAssocID="{3CC0F881-A50A-4BF7-AA8F-820EBE4DE119}" presName="connTx" presStyleLbl="parChTrans1D2" presStyleIdx="6" presStyleCnt="7"/>
      <dgm:spPr/>
    </dgm:pt>
    <dgm:pt modelId="{D17EA496-03D8-48D4-BD47-6CECD6C8CE10}" type="pres">
      <dgm:prSet presAssocID="{0CEAF175-C8CB-4D95-B7D5-A4456A0107B5}" presName="node" presStyleLbl="node1" presStyleIdx="6" presStyleCnt="7">
        <dgm:presLayoutVars>
          <dgm:bulletEnabled val="1"/>
        </dgm:presLayoutVars>
      </dgm:prSet>
      <dgm:spPr/>
    </dgm:pt>
  </dgm:ptLst>
  <dgm:cxnLst>
    <dgm:cxn modelId="{D359EE02-7D1F-4BA6-A40F-F078A5A2E8FE}" type="presOf" srcId="{E8A7EE81-FF8E-FA4E-9A29-2E49F8D42171}" destId="{612A3D90-584E-4EEA-9C1F-6F2A1B6124F2}" srcOrd="1" destOrd="0" presId="urn:microsoft.com/office/officeart/2005/8/layout/radial1"/>
    <dgm:cxn modelId="{298C3903-78BD-468C-8151-2BFAC9090DC5}" type="presOf" srcId="{E463D266-92D6-7D4E-966B-4FC93065AC93}" destId="{C480DA52-DB2C-42B7-B198-A6C5E998C7F8}" srcOrd="0" destOrd="0" presId="urn:microsoft.com/office/officeart/2005/8/layout/radial1"/>
    <dgm:cxn modelId="{2CED322E-8C92-484B-B7D3-7BD4AB19467C}" type="presOf" srcId="{1342E8C9-4541-CE43-B82C-AC60F4F98E0C}" destId="{746A1BF7-8F42-4E69-A44B-927034CB6664}" srcOrd="0" destOrd="0" presId="urn:microsoft.com/office/officeart/2005/8/layout/radial1"/>
    <dgm:cxn modelId="{C3723331-842A-4B87-A5CA-CBC7C0DE52E4}" type="presOf" srcId="{E51B88CA-53CD-9243-B22A-9F5994F5A1E7}" destId="{201B08F8-83AF-4E7F-8F13-E5D4D558D334}" srcOrd="0" destOrd="0" presId="urn:microsoft.com/office/officeart/2005/8/layout/radial1"/>
    <dgm:cxn modelId="{D6C04E3E-8CC9-4559-8C5C-DF553725BA77}" type="presOf" srcId="{E8A7EE81-FF8E-FA4E-9A29-2E49F8D42171}" destId="{C060BD1E-F598-4BE6-8E0F-1FC462076C59}" srcOrd="0" destOrd="0" presId="urn:microsoft.com/office/officeart/2005/8/layout/radial1"/>
    <dgm:cxn modelId="{23B69A3E-39AE-4B27-A561-59EBE88B0B59}" type="presOf" srcId="{E463D266-92D6-7D4E-966B-4FC93065AC93}" destId="{B4092780-3526-4157-89F5-E26DF9FBCD08}" srcOrd="1" destOrd="0" presId="urn:microsoft.com/office/officeart/2005/8/layout/radial1"/>
    <dgm:cxn modelId="{63E76F5B-E839-4641-B204-6F5788F32E7C}" type="presOf" srcId="{125EC72B-D189-6A43-A24E-8A400AF4782F}" destId="{BA8636D5-7787-48FE-BE1D-52A9CAD8692D}" srcOrd="0" destOrd="0" presId="urn:microsoft.com/office/officeart/2005/8/layout/radial1"/>
    <dgm:cxn modelId="{B3ADB161-B8B4-45D8-9C21-902C2683FBAD}" type="presOf" srcId="{9ED61FCB-38CF-3841-B9B8-739276FE2DB9}" destId="{82636A49-B01D-4071-BE5B-368EE83F034D}" srcOrd="1" destOrd="0" presId="urn:microsoft.com/office/officeart/2005/8/layout/radial1"/>
    <dgm:cxn modelId="{B58D4A63-5CB0-4129-8D46-E81A8F010D20}" type="presOf" srcId="{B61AF25B-F06E-304F-9DA2-957C84FFAE0F}" destId="{C60CDE7F-76E8-4D7B-A62E-1F925245DA7A}" srcOrd="1" destOrd="0" presId="urn:microsoft.com/office/officeart/2005/8/layout/radial1"/>
    <dgm:cxn modelId="{15CDB843-78F0-4EE6-9932-96BA365961F7}" type="presOf" srcId="{D686DBEF-B3BC-4A4C-A745-856058DD90F5}" destId="{227EE875-051C-4BC3-9EBC-E59775F338B9}" srcOrd="0" destOrd="0" presId="urn:microsoft.com/office/officeart/2005/8/layout/radial1"/>
    <dgm:cxn modelId="{0F727D67-46D2-42FF-80E7-46E6367ED6B2}" type="presOf" srcId="{1F04B108-AABF-F44E-8360-2BC2B821252D}" destId="{4FE33825-9D4B-4ABF-BFC8-D751FD19600D}" srcOrd="0" destOrd="0" presId="urn:microsoft.com/office/officeart/2005/8/layout/radial1"/>
    <dgm:cxn modelId="{53FBEF48-F9CB-4864-98F9-D39406F7D3A2}" srcId="{13AC2174-5977-8245-9B69-770A3B282424}" destId="{0CEAF175-C8CB-4D95-B7D5-A4456A0107B5}" srcOrd="6" destOrd="0" parTransId="{3CC0F881-A50A-4BF7-AA8F-820EBE4DE119}" sibTransId="{B5DDAB4A-68B8-43F4-940C-2FCC72BF25A1}"/>
    <dgm:cxn modelId="{AA839359-9A70-4777-85E2-86E14DD1A146}" type="presOf" srcId="{3CC0F881-A50A-4BF7-AA8F-820EBE4DE119}" destId="{3F3F07F8-2732-484C-A44A-01697643D096}" srcOrd="1" destOrd="0" presId="urn:microsoft.com/office/officeart/2005/8/layout/radial1"/>
    <dgm:cxn modelId="{6060347A-F2AC-4C64-88F8-997B28F9B42A}" type="presOf" srcId="{0B818431-FB1B-1C44-80DC-4CED74AF9AD7}" destId="{A80961D2-A44E-4E45-935C-372033D3D5CB}" srcOrd="0" destOrd="0" presId="urn:microsoft.com/office/officeart/2005/8/layout/radial1"/>
    <dgm:cxn modelId="{F1121F7E-D30F-4CDF-9CF2-1DAD63239444}" type="presOf" srcId="{3CC0F881-A50A-4BF7-AA8F-820EBE4DE119}" destId="{4EB828DE-ABF4-473A-8331-74E15BF1C03F}" srcOrd="0" destOrd="0" presId="urn:microsoft.com/office/officeart/2005/8/layout/radial1"/>
    <dgm:cxn modelId="{E0439F83-EDFF-E246-BF5A-8F0FC00CB3E3}" srcId="{13AC2174-5977-8245-9B69-770A3B282424}" destId="{0B818431-FB1B-1C44-80DC-4CED74AF9AD7}" srcOrd="4" destOrd="0" parTransId="{E463D266-92D6-7D4E-966B-4FC93065AC93}" sibTransId="{31CB6918-3447-394A-B6F4-C44DC3B40958}"/>
    <dgm:cxn modelId="{6B98298A-25F4-9246-A809-1E5CF261BC1D}" srcId="{1342E8C9-4541-CE43-B82C-AC60F4F98E0C}" destId="{13AC2174-5977-8245-9B69-770A3B282424}" srcOrd="0" destOrd="0" parTransId="{527A7161-8398-7D4D-A9BA-CB2AD6C6E235}" sibTransId="{2F1943DD-4628-7E4F-8459-E7DB35B86047}"/>
    <dgm:cxn modelId="{7EEE4D8B-BA67-4359-8F47-F28A6027E505}" type="presOf" srcId="{D686DBEF-B3BC-4A4C-A745-856058DD90F5}" destId="{F2220E56-3F4D-489B-B642-B0031DDDA63C}" srcOrd="1" destOrd="0" presId="urn:microsoft.com/office/officeart/2005/8/layout/radial1"/>
    <dgm:cxn modelId="{EC2D0E93-BC52-466C-8E6B-B6310F00E03C}" srcId="{13AC2174-5977-8245-9B69-770A3B282424}" destId="{5D450D93-856E-474B-B7ED-4A53BBB2DE0A}" srcOrd="3" destOrd="0" parTransId="{3603D984-BD2E-45FE-9189-264AA6BAA4D0}" sibTransId="{69B3888E-E507-4B7F-BF21-B9BA0734983F}"/>
    <dgm:cxn modelId="{C3AD2597-8DB7-3B4E-9453-E8BE9CCBB4E7}" srcId="{13AC2174-5977-8245-9B69-770A3B282424}" destId="{125EC72B-D189-6A43-A24E-8A400AF4782F}" srcOrd="1" destOrd="0" parTransId="{B61AF25B-F06E-304F-9DA2-957C84FFAE0F}" sibTransId="{E1A68E6C-78FC-804E-BEC9-A7F12A2E6D45}"/>
    <dgm:cxn modelId="{00F6C5AA-482A-4272-B4E4-1972C3A158C9}" type="presOf" srcId="{B61AF25B-F06E-304F-9DA2-957C84FFAE0F}" destId="{25EA592D-5148-4AF3-A96F-54A5F4EF6C85}" srcOrd="0" destOrd="0" presId="urn:microsoft.com/office/officeart/2005/8/layout/radial1"/>
    <dgm:cxn modelId="{A97F4AB0-E43F-4994-86EE-000D57FCE353}" type="presOf" srcId="{5D450D93-856E-474B-B7ED-4A53BBB2DE0A}" destId="{3C4249EC-3D2F-4874-80BF-507E26A9A242}" srcOrd="0" destOrd="0" presId="urn:microsoft.com/office/officeart/2005/8/layout/radial1"/>
    <dgm:cxn modelId="{0F6F56B2-BBEB-4783-824A-9F0567D23941}" type="presOf" srcId="{3603D984-BD2E-45FE-9189-264AA6BAA4D0}" destId="{15BE96BC-745E-4F09-B454-0B3E6194A26E}" srcOrd="1" destOrd="0" presId="urn:microsoft.com/office/officeart/2005/8/layout/radial1"/>
    <dgm:cxn modelId="{52DEF7D0-B479-42EB-9195-7C18E2690D03}" type="presOf" srcId="{13AC2174-5977-8245-9B69-770A3B282424}" destId="{AA3DEB76-C7BB-4EFE-9512-02F6A0DE0632}" srcOrd="0" destOrd="0" presId="urn:microsoft.com/office/officeart/2005/8/layout/radial1"/>
    <dgm:cxn modelId="{7AE5C3E9-6541-4FCD-A6BD-435E05D31615}" type="presOf" srcId="{9ED61FCB-38CF-3841-B9B8-739276FE2DB9}" destId="{A544F1A8-03B6-4683-919D-7249B44F3F05}" srcOrd="0" destOrd="0" presId="urn:microsoft.com/office/officeart/2005/8/layout/radial1"/>
    <dgm:cxn modelId="{A1F582EF-9C0E-463E-B6F1-716676DFD73C}" type="presOf" srcId="{0CEAF175-C8CB-4D95-B7D5-A4456A0107B5}" destId="{D17EA496-03D8-48D4-BD47-6CECD6C8CE10}" srcOrd="0" destOrd="0" presId="urn:microsoft.com/office/officeart/2005/8/layout/radial1"/>
    <dgm:cxn modelId="{D2A433F2-F3D0-48EB-980C-95709CBADF03}" type="presOf" srcId="{122634F0-F835-FD40-8872-144FF12746A8}" destId="{B04EA3E0-1A68-4FF8-9F96-A876883C71E0}" srcOrd="0" destOrd="0" presId="urn:microsoft.com/office/officeart/2005/8/layout/radial1"/>
    <dgm:cxn modelId="{52464FF6-247B-F341-B6DE-A18B2FE3D54E}" srcId="{13AC2174-5977-8245-9B69-770A3B282424}" destId="{1F04B108-AABF-F44E-8360-2BC2B821252D}" srcOrd="0" destOrd="0" parTransId="{D686DBEF-B3BC-4A4C-A745-856058DD90F5}" sibTransId="{26153CD7-E294-254B-A65A-229C6ADE0703}"/>
    <dgm:cxn modelId="{D0C893F9-FF18-4AB6-8D0B-EA7A74A7BE95}" type="presOf" srcId="{3603D984-BD2E-45FE-9189-264AA6BAA4D0}" destId="{E6D52495-5B04-4BF0-BA7F-2839F4C18127}" srcOrd="0" destOrd="0" presId="urn:microsoft.com/office/officeart/2005/8/layout/radial1"/>
    <dgm:cxn modelId="{88A64FFA-0E67-D540-A995-6237E061CFE5}" srcId="{13AC2174-5977-8245-9B69-770A3B282424}" destId="{122634F0-F835-FD40-8872-144FF12746A8}" srcOrd="2" destOrd="0" parTransId="{E8A7EE81-FF8E-FA4E-9A29-2E49F8D42171}" sibTransId="{C28C418A-BB7E-6149-809C-29BE2F0F742D}"/>
    <dgm:cxn modelId="{40AB67FC-1838-7342-9D86-94A77AC31BDC}" srcId="{13AC2174-5977-8245-9B69-770A3B282424}" destId="{E51B88CA-53CD-9243-B22A-9F5994F5A1E7}" srcOrd="5" destOrd="0" parTransId="{9ED61FCB-38CF-3841-B9B8-739276FE2DB9}" sibTransId="{A10532F2-FDA1-2149-B84E-ED20CC6F129D}"/>
    <dgm:cxn modelId="{740733E7-F5CA-41B0-8DD7-CE124ED32742}" type="presParOf" srcId="{746A1BF7-8F42-4E69-A44B-927034CB6664}" destId="{AA3DEB76-C7BB-4EFE-9512-02F6A0DE0632}" srcOrd="0" destOrd="0" presId="urn:microsoft.com/office/officeart/2005/8/layout/radial1"/>
    <dgm:cxn modelId="{2B809A96-3F6E-4000-9508-27BEE24F5C92}" type="presParOf" srcId="{746A1BF7-8F42-4E69-A44B-927034CB6664}" destId="{227EE875-051C-4BC3-9EBC-E59775F338B9}" srcOrd="1" destOrd="0" presId="urn:microsoft.com/office/officeart/2005/8/layout/radial1"/>
    <dgm:cxn modelId="{9C83C414-D541-4D3A-8928-0D5C1B9C5B86}" type="presParOf" srcId="{227EE875-051C-4BC3-9EBC-E59775F338B9}" destId="{F2220E56-3F4D-489B-B642-B0031DDDA63C}" srcOrd="0" destOrd="0" presId="urn:microsoft.com/office/officeart/2005/8/layout/radial1"/>
    <dgm:cxn modelId="{3EF24F0D-CF73-461A-9EBB-13D94A4AC704}" type="presParOf" srcId="{746A1BF7-8F42-4E69-A44B-927034CB6664}" destId="{4FE33825-9D4B-4ABF-BFC8-D751FD19600D}" srcOrd="2" destOrd="0" presId="urn:microsoft.com/office/officeart/2005/8/layout/radial1"/>
    <dgm:cxn modelId="{D626AEEA-3F3C-4C66-A42B-F5AD93BBC605}" type="presParOf" srcId="{746A1BF7-8F42-4E69-A44B-927034CB6664}" destId="{25EA592D-5148-4AF3-A96F-54A5F4EF6C85}" srcOrd="3" destOrd="0" presId="urn:microsoft.com/office/officeart/2005/8/layout/radial1"/>
    <dgm:cxn modelId="{87D9E96B-F662-4499-AE5F-6C96E39CB23D}" type="presParOf" srcId="{25EA592D-5148-4AF3-A96F-54A5F4EF6C85}" destId="{C60CDE7F-76E8-4D7B-A62E-1F925245DA7A}" srcOrd="0" destOrd="0" presId="urn:microsoft.com/office/officeart/2005/8/layout/radial1"/>
    <dgm:cxn modelId="{499C68BE-44DF-4A88-AE35-3B68F0DCD84A}" type="presParOf" srcId="{746A1BF7-8F42-4E69-A44B-927034CB6664}" destId="{BA8636D5-7787-48FE-BE1D-52A9CAD8692D}" srcOrd="4" destOrd="0" presId="urn:microsoft.com/office/officeart/2005/8/layout/radial1"/>
    <dgm:cxn modelId="{27609CC2-864B-48DA-AF51-368785172EA6}" type="presParOf" srcId="{746A1BF7-8F42-4E69-A44B-927034CB6664}" destId="{C060BD1E-F598-4BE6-8E0F-1FC462076C59}" srcOrd="5" destOrd="0" presId="urn:microsoft.com/office/officeart/2005/8/layout/radial1"/>
    <dgm:cxn modelId="{68C7B995-C51E-4FA4-8DB0-4B3502BEA969}" type="presParOf" srcId="{C060BD1E-F598-4BE6-8E0F-1FC462076C59}" destId="{612A3D90-584E-4EEA-9C1F-6F2A1B6124F2}" srcOrd="0" destOrd="0" presId="urn:microsoft.com/office/officeart/2005/8/layout/radial1"/>
    <dgm:cxn modelId="{1930AB48-66D8-49F0-B9BB-5910A77368D9}" type="presParOf" srcId="{746A1BF7-8F42-4E69-A44B-927034CB6664}" destId="{B04EA3E0-1A68-4FF8-9F96-A876883C71E0}" srcOrd="6" destOrd="0" presId="urn:microsoft.com/office/officeart/2005/8/layout/radial1"/>
    <dgm:cxn modelId="{2298C8BF-97B3-4BEA-8CCA-10ECA89BCC8B}" type="presParOf" srcId="{746A1BF7-8F42-4E69-A44B-927034CB6664}" destId="{E6D52495-5B04-4BF0-BA7F-2839F4C18127}" srcOrd="7" destOrd="0" presId="urn:microsoft.com/office/officeart/2005/8/layout/radial1"/>
    <dgm:cxn modelId="{6AD47965-87A9-4195-9AD8-FFA342872071}" type="presParOf" srcId="{E6D52495-5B04-4BF0-BA7F-2839F4C18127}" destId="{15BE96BC-745E-4F09-B454-0B3E6194A26E}" srcOrd="0" destOrd="0" presId="urn:microsoft.com/office/officeart/2005/8/layout/radial1"/>
    <dgm:cxn modelId="{7F2CB4B7-B177-406C-A435-900640FA3541}" type="presParOf" srcId="{746A1BF7-8F42-4E69-A44B-927034CB6664}" destId="{3C4249EC-3D2F-4874-80BF-507E26A9A242}" srcOrd="8" destOrd="0" presId="urn:microsoft.com/office/officeart/2005/8/layout/radial1"/>
    <dgm:cxn modelId="{47168A07-AE7B-4B05-B496-40FF0499EDDD}" type="presParOf" srcId="{746A1BF7-8F42-4E69-A44B-927034CB6664}" destId="{C480DA52-DB2C-42B7-B198-A6C5E998C7F8}" srcOrd="9" destOrd="0" presId="urn:microsoft.com/office/officeart/2005/8/layout/radial1"/>
    <dgm:cxn modelId="{6F82CBD5-EBF1-4DCE-8386-347F1C0D169E}" type="presParOf" srcId="{C480DA52-DB2C-42B7-B198-A6C5E998C7F8}" destId="{B4092780-3526-4157-89F5-E26DF9FBCD08}" srcOrd="0" destOrd="0" presId="urn:microsoft.com/office/officeart/2005/8/layout/radial1"/>
    <dgm:cxn modelId="{BF0A2DA8-88CD-4714-A5D1-A1398395459E}" type="presParOf" srcId="{746A1BF7-8F42-4E69-A44B-927034CB6664}" destId="{A80961D2-A44E-4E45-935C-372033D3D5CB}" srcOrd="10" destOrd="0" presId="urn:microsoft.com/office/officeart/2005/8/layout/radial1"/>
    <dgm:cxn modelId="{6CE931DC-2C65-462E-9E13-95E4A34AFCF1}" type="presParOf" srcId="{746A1BF7-8F42-4E69-A44B-927034CB6664}" destId="{A544F1A8-03B6-4683-919D-7249B44F3F05}" srcOrd="11" destOrd="0" presId="urn:microsoft.com/office/officeart/2005/8/layout/radial1"/>
    <dgm:cxn modelId="{ABB68892-BE5C-49EA-ACF8-5FF4EB3A230A}" type="presParOf" srcId="{A544F1A8-03B6-4683-919D-7249B44F3F05}" destId="{82636A49-B01D-4071-BE5B-368EE83F034D}" srcOrd="0" destOrd="0" presId="urn:microsoft.com/office/officeart/2005/8/layout/radial1"/>
    <dgm:cxn modelId="{472075F5-2523-48EF-AB09-0A4A4C89D414}" type="presParOf" srcId="{746A1BF7-8F42-4E69-A44B-927034CB6664}" destId="{201B08F8-83AF-4E7F-8F13-E5D4D558D334}" srcOrd="12" destOrd="0" presId="urn:microsoft.com/office/officeart/2005/8/layout/radial1"/>
    <dgm:cxn modelId="{FF3F8D0F-C7C3-4E0F-8390-51BFF5B0C4BA}" type="presParOf" srcId="{746A1BF7-8F42-4E69-A44B-927034CB6664}" destId="{4EB828DE-ABF4-473A-8331-74E15BF1C03F}" srcOrd="13" destOrd="0" presId="urn:microsoft.com/office/officeart/2005/8/layout/radial1"/>
    <dgm:cxn modelId="{AB026BE8-7B60-43D3-A5EA-A2A447AB4831}" type="presParOf" srcId="{4EB828DE-ABF4-473A-8331-74E15BF1C03F}" destId="{3F3F07F8-2732-484C-A44A-01697643D096}" srcOrd="0" destOrd="0" presId="urn:microsoft.com/office/officeart/2005/8/layout/radial1"/>
    <dgm:cxn modelId="{67FDE321-CBDE-4DB7-96FD-4C3A46868311}" type="presParOf" srcId="{746A1BF7-8F42-4E69-A44B-927034CB6664}" destId="{D17EA496-03D8-48D4-BD47-6CECD6C8CE10}" srcOrd="14"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75510D-35B8-40C7-8555-4068C547FF59}">
      <dsp:nvSpPr>
        <dsp:cNvPr id="0" name=""/>
        <dsp:cNvSpPr/>
      </dsp:nvSpPr>
      <dsp:spPr>
        <a:xfrm>
          <a:off x="582954" y="57180"/>
          <a:ext cx="457207" cy="45720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B34BAA9-840F-484B-B255-56F20248E422}">
      <dsp:nvSpPr>
        <dsp:cNvPr id="0" name=""/>
        <dsp:cNvSpPr/>
      </dsp:nvSpPr>
      <dsp:spPr>
        <a:xfrm>
          <a:off x="303550" y="666866"/>
          <a:ext cx="1016015" cy="406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pPr>
          <a:r>
            <a:rPr lang="en-US" sz="1400" kern="1200"/>
            <a:t>Nothing to disclose</a:t>
          </a:r>
        </a:p>
      </dsp:txBody>
      <dsp:txXfrm>
        <a:off x="303550" y="666866"/>
        <a:ext cx="1016015" cy="406406"/>
      </dsp:txXfrm>
    </dsp:sp>
    <dsp:sp modelId="{CA2B8FCE-A2C6-46BE-9A9D-A6F92FE29D17}">
      <dsp:nvSpPr>
        <dsp:cNvPr id="0" name=""/>
        <dsp:cNvSpPr/>
      </dsp:nvSpPr>
      <dsp:spPr>
        <a:xfrm>
          <a:off x="1776773" y="57180"/>
          <a:ext cx="457207" cy="45720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CFF04B6-3323-40E9-9DAA-928C45AC8F8B}">
      <dsp:nvSpPr>
        <dsp:cNvPr id="0" name=""/>
        <dsp:cNvSpPr/>
      </dsp:nvSpPr>
      <dsp:spPr>
        <a:xfrm>
          <a:off x="1497368" y="666866"/>
          <a:ext cx="1016015" cy="406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pPr>
          <a:r>
            <a:rPr lang="en-US" sz="1400" kern="1200"/>
            <a:t>Photography is allowed</a:t>
          </a:r>
        </a:p>
      </dsp:txBody>
      <dsp:txXfrm>
        <a:off x="1497368" y="666866"/>
        <a:ext cx="1016015" cy="4064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EAF31C-2E1F-4DD0-B874-707DE45685E1}">
      <dsp:nvSpPr>
        <dsp:cNvPr id="0" name=""/>
        <dsp:cNvSpPr/>
      </dsp:nvSpPr>
      <dsp:spPr>
        <a:xfrm>
          <a:off x="2845" y="1240619"/>
          <a:ext cx="1710918" cy="542410"/>
        </a:xfrm>
        <a:prstGeom prst="rect">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rtl="0">
            <a:lnSpc>
              <a:spcPct val="90000"/>
            </a:lnSpc>
            <a:spcBef>
              <a:spcPct val="0"/>
            </a:spcBef>
            <a:spcAft>
              <a:spcPct val="35000"/>
            </a:spcAft>
            <a:buNone/>
          </a:pPr>
          <a:r>
            <a:rPr lang="en-US" sz="1500" kern="1200" dirty="0">
              <a:latin typeface="Calibri"/>
              <a:ea typeface="Calibri"/>
              <a:cs typeface="Calibri"/>
            </a:rPr>
            <a:t>P</a:t>
          </a:r>
          <a:r>
            <a:rPr lang="en-US" sz="1500" b="0" kern="1200" dirty="0">
              <a:latin typeface="Calibri"/>
              <a:ea typeface="Calibri"/>
              <a:cs typeface="Calibri"/>
            </a:rPr>
            <a:t>atients</a:t>
          </a:r>
        </a:p>
      </dsp:txBody>
      <dsp:txXfrm>
        <a:off x="2845" y="1240619"/>
        <a:ext cx="1710918" cy="542410"/>
      </dsp:txXfrm>
    </dsp:sp>
    <dsp:sp modelId="{B058FC45-7B2B-43A4-B7C0-9208BC2AAA77}">
      <dsp:nvSpPr>
        <dsp:cNvPr id="0" name=""/>
        <dsp:cNvSpPr/>
      </dsp:nvSpPr>
      <dsp:spPr>
        <a:xfrm>
          <a:off x="2845" y="1783030"/>
          <a:ext cx="1710918" cy="2594025"/>
        </a:xfrm>
        <a:prstGeom prst="rect">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US" sz="1400" b="0" kern="1200" dirty="0">
              <a:latin typeface="Calibri"/>
              <a:ea typeface="Calibri"/>
              <a:cs typeface="Calibri"/>
            </a:rPr>
            <a:t>Type 1</a:t>
          </a:r>
        </a:p>
        <a:p>
          <a:pPr marL="228600" lvl="2" indent="-114300" algn="l" defTabSz="622300" rtl="0">
            <a:lnSpc>
              <a:spcPct val="90000"/>
            </a:lnSpc>
            <a:spcBef>
              <a:spcPct val="0"/>
            </a:spcBef>
            <a:spcAft>
              <a:spcPct val="15000"/>
            </a:spcAft>
            <a:buChar char="•"/>
          </a:pPr>
          <a:r>
            <a:rPr lang="en-US" sz="1400" b="0" kern="1200" dirty="0">
              <a:latin typeface="Calibri"/>
              <a:ea typeface="Calibri"/>
              <a:cs typeface="Calibri"/>
            </a:rPr>
            <a:t>Total: ~3300 patients </a:t>
          </a:r>
        </a:p>
        <a:p>
          <a:pPr marL="228600" lvl="2" indent="-114300" algn="l" defTabSz="622300" rtl="0">
            <a:lnSpc>
              <a:spcPct val="90000"/>
            </a:lnSpc>
            <a:spcBef>
              <a:spcPct val="0"/>
            </a:spcBef>
            <a:spcAft>
              <a:spcPct val="15000"/>
            </a:spcAft>
            <a:buChar char="•"/>
          </a:pPr>
          <a:r>
            <a:rPr lang="en-US" sz="1400" b="0" kern="1200" dirty="0">
              <a:latin typeface="Calibri"/>
              <a:ea typeface="Calibri"/>
              <a:cs typeface="Calibri"/>
            </a:rPr>
            <a:t>&gt;16 yrs: ~1048 </a:t>
          </a:r>
        </a:p>
        <a:p>
          <a:pPr marL="114300" lvl="1" indent="-114300" algn="l" defTabSz="622300" rtl="0">
            <a:lnSpc>
              <a:spcPct val="90000"/>
            </a:lnSpc>
            <a:spcBef>
              <a:spcPct val="0"/>
            </a:spcBef>
            <a:spcAft>
              <a:spcPct val="15000"/>
            </a:spcAft>
            <a:buChar char="•"/>
          </a:pPr>
          <a:r>
            <a:rPr lang="en-US" sz="1400" b="0" kern="1200" dirty="0">
              <a:latin typeface="Calibri"/>
              <a:ea typeface="EB Garamond"/>
              <a:cs typeface="Calibri"/>
            </a:rPr>
            <a:t>Type 2</a:t>
          </a:r>
        </a:p>
        <a:p>
          <a:pPr marL="228600" lvl="2" indent="-114300" algn="l" defTabSz="622300" rtl="0">
            <a:lnSpc>
              <a:spcPct val="90000"/>
            </a:lnSpc>
            <a:spcBef>
              <a:spcPct val="0"/>
            </a:spcBef>
            <a:spcAft>
              <a:spcPct val="15000"/>
            </a:spcAft>
            <a:buChar char="•"/>
          </a:pPr>
          <a:r>
            <a:rPr lang="en-US" sz="1400" b="0" kern="1200" dirty="0">
              <a:latin typeface="Calibri"/>
              <a:ea typeface="EB Garamond"/>
              <a:cs typeface="Calibri"/>
            </a:rPr>
            <a:t>Total: ~779 </a:t>
          </a:r>
          <a:r>
            <a:rPr lang="en-US" sz="1400" b="0" kern="1200" dirty="0">
              <a:solidFill>
                <a:schemeClr val="tx1"/>
              </a:solidFill>
              <a:latin typeface="Calibri"/>
              <a:ea typeface="EB Garamond"/>
              <a:cs typeface="Calibri"/>
            </a:rPr>
            <a:t>patients</a:t>
          </a:r>
        </a:p>
        <a:p>
          <a:pPr marL="228600" lvl="2" indent="-114300" algn="l" defTabSz="622300" rtl="0">
            <a:lnSpc>
              <a:spcPct val="90000"/>
            </a:lnSpc>
            <a:spcBef>
              <a:spcPct val="0"/>
            </a:spcBef>
            <a:spcAft>
              <a:spcPct val="15000"/>
            </a:spcAft>
            <a:buChar char="•"/>
          </a:pPr>
          <a:r>
            <a:rPr lang="en-US" sz="1400" b="0" kern="1200" dirty="0">
              <a:solidFill>
                <a:schemeClr val="tx1"/>
              </a:solidFill>
              <a:latin typeface="Calibri"/>
              <a:ea typeface="EB Garamond"/>
              <a:cs typeface="Calibri"/>
            </a:rPr>
            <a:t>&gt;16 yrs: ~442</a:t>
          </a:r>
        </a:p>
        <a:p>
          <a:pPr marL="114300" lvl="1" indent="-114300" algn="l" defTabSz="622300" rtl="0">
            <a:lnSpc>
              <a:spcPct val="90000"/>
            </a:lnSpc>
            <a:spcBef>
              <a:spcPct val="0"/>
            </a:spcBef>
            <a:spcAft>
              <a:spcPct val="15000"/>
            </a:spcAft>
            <a:buChar char="•"/>
          </a:pPr>
          <a:r>
            <a:rPr lang="en-US" sz="1400" b="0" kern="1200" dirty="0">
              <a:latin typeface="Calibri"/>
              <a:ea typeface="EB Garamond"/>
              <a:cs typeface="Calibri"/>
            </a:rPr>
            <a:t>Insurance</a:t>
          </a:r>
        </a:p>
        <a:p>
          <a:pPr marL="228600" lvl="2" indent="-114300" algn="l" defTabSz="622300" rtl="0">
            <a:lnSpc>
              <a:spcPct val="90000"/>
            </a:lnSpc>
            <a:spcBef>
              <a:spcPct val="0"/>
            </a:spcBef>
            <a:spcAft>
              <a:spcPct val="15000"/>
            </a:spcAft>
            <a:buChar char="•"/>
          </a:pPr>
          <a:r>
            <a:rPr lang="en-US" sz="1400" b="0" kern="1200" dirty="0">
              <a:solidFill>
                <a:schemeClr val="tx1"/>
              </a:solidFill>
              <a:latin typeface="Calibri"/>
              <a:ea typeface="EB Garamond"/>
              <a:cs typeface="Calibri"/>
            </a:rPr>
            <a:t>~40% with public insurance</a:t>
          </a:r>
        </a:p>
      </dsp:txBody>
      <dsp:txXfrm>
        <a:off x="2845" y="1783030"/>
        <a:ext cx="1710918" cy="2594025"/>
      </dsp:txXfrm>
    </dsp:sp>
    <dsp:sp modelId="{5CF026D9-2CBA-4856-A414-331E1FBCFBAC}">
      <dsp:nvSpPr>
        <dsp:cNvPr id="0" name=""/>
        <dsp:cNvSpPr/>
      </dsp:nvSpPr>
      <dsp:spPr>
        <a:xfrm>
          <a:off x="1953292" y="1240619"/>
          <a:ext cx="1710918" cy="542410"/>
        </a:xfrm>
        <a:prstGeom prst="rect">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b="0" kern="1200" dirty="0">
              <a:latin typeface="Calibri"/>
              <a:ea typeface="Calibri"/>
              <a:cs typeface="Calibri"/>
            </a:rPr>
            <a:t>Providers</a:t>
          </a:r>
        </a:p>
      </dsp:txBody>
      <dsp:txXfrm>
        <a:off x="1953292" y="1240619"/>
        <a:ext cx="1710918" cy="542410"/>
      </dsp:txXfrm>
    </dsp:sp>
    <dsp:sp modelId="{65F6231F-F2F5-4C8A-A899-7155009CB993}">
      <dsp:nvSpPr>
        <dsp:cNvPr id="0" name=""/>
        <dsp:cNvSpPr/>
      </dsp:nvSpPr>
      <dsp:spPr>
        <a:xfrm>
          <a:off x="1953292" y="1783030"/>
          <a:ext cx="1710918" cy="2594025"/>
        </a:xfrm>
        <a:prstGeom prst="rect">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35 Pediatric Endocrinologists</a:t>
          </a:r>
        </a:p>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9 APPs</a:t>
          </a:r>
        </a:p>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12 Pedi Endo Fellows</a:t>
          </a:r>
        </a:p>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2 psychologists</a:t>
          </a:r>
        </a:p>
      </dsp:txBody>
      <dsp:txXfrm>
        <a:off x="1953292" y="1783030"/>
        <a:ext cx="1710918" cy="2594025"/>
      </dsp:txXfrm>
    </dsp:sp>
    <dsp:sp modelId="{C142284C-E6E8-4F2A-A2D7-D97A71C1E241}">
      <dsp:nvSpPr>
        <dsp:cNvPr id="0" name=""/>
        <dsp:cNvSpPr/>
      </dsp:nvSpPr>
      <dsp:spPr>
        <a:xfrm>
          <a:off x="3903739" y="1240619"/>
          <a:ext cx="1710918" cy="542410"/>
        </a:xfrm>
        <a:prstGeom prst="rect">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rtl="0">
            <a:lnSpc>
              <a:spcPct val="90000"/>
            </a:lnSpc>
            <a:spcBef>
              <a:spcPct val="0"/>
            </a:spcBef>
            <a:spcAft>
              <a:spcPct val="35000"/>
            </a:spcAft>
            <a:buNone/>
          </a:pPr>
          <a:r>
            <a:rPr lang="en-US" sz="1500" b="0" kern="1200" dirty="0">
              <a:latin typeface="Calibri"/>
              <a:ea typeface="Calibri"/>
              <a:cs typeface="Calibri"/>
            </a:rPr>
            <a:t>Ambulatory staff &amp; leadership</a:t>
          </a:r>
        </a:p>
      </dsp:txBody>
      <dsp:txXfrm>
        <a:off x="3903739" y="1240619"/>
        <a:ext cx="1710918" cy="542410"/>
      </dsp:txXfrm>
    </dsp:sp>
    <dsp:sp modelId="{3A6710C0-DBAA-4B2D-AC70-4449A1FF9E52}">
      <dsp:nvSpPr>
        <dsp:cNvPr id="0" name=""/>
        <dsp:cNvSpPr/>
      </dsp:nvSpPr>
      <dsp:spPr>
        <a:xfrm>
          <a:off x="3903739" y="1783030"/>
          <a:ext cx="1710918" cy="2594025"/>
        </a:xfrm>
        <a:prstGeom prst="rect">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4 CDCES/RD leadership</a:t>
          </a:r>
        </a:p>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Practice administrator</a:t>
          </a:r>
        </a:p>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CDCES/RD: ~29</a:t>
          </a:r>
        </a:p>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2 Patient navigators</a:t>
          </a:r>
        </a:p>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SW: ~6</a:t>
          </a:r>
        </a:p>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MAs &amp; Nurses</a:t>
          </a:r>
        </a:p>
      </dsp:txBody>
      <dsp:txXfrm>
        <a:off x="3903739" y="1783030"/>
        <a:ext cx="1710918" cy="2594025"/>
      </dsp:txXfrm>
    </dsp:sp>
    <dsp:sp modelId="{8615D287-89F6-4D88-AC63-C6D80C2A359F}">
      <dsp:nvSpPr>
        <dsp:cNvPr id="0" name=""/>
        <dsp:cNvSpPr/>
      </dsp:nvSpPr>
      <dsp:spPr>
        <a:xfrm>
          <a:off x="5854186" y="1240619"/>
          <a:ext cx="1710918" cy="542410"/>
        </a:xfrm>
        <a:prstGeom prst="rect">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rtl="0">
            <a:lnSpc>
              <a:spcPct val="90000"/>
            </a:lnSpc>
            <a:spcBef>
              <a:spcPct val="0"/>
            </a:spcBef>
            <a:spcAft>
              <a:spcPct val="35000"/>
            </a:spcAft>
            <a:buNone/>
          </a:pPr>
          <a:r>
            <a:rPr lang="en-US" sz="1500" b="0" kern="1200" dirty="0">
              <a:latin typeface="Calibri"/>
              <a:ea typeface="Calibri"/>
              <a:cs typeface="Calibri"/>
            </a:rPr>
            <a:t>Diabetes clinics</a:t>
          </a:r>
        </a:p>
      </dsp:txBody>
      <dsp:txXfrm>
        <a:off x="5854186" y="1240619"/>
        <a:ext cx="1710918" cy="542410"/>
      </dsp:txXfrm>
    </dsp:sp>
    <dsp:sp modelId="{F3576142-59D1-43FE-ADF8-0F82F3F6BC8A}">
      <dsp:nvSpPr>
        <dsp:cNvPr id="0" name=""/>
        <dsp:cNvSpPr/>
      </dsp:nvSpPr>
      <dsp:spPr>
        <a:xfrm>
          <a:off x="5854186" y="1783030"/>
          <a:ext cx="1710918" cy="2594025"/>
        </a:xfrm>
        <a:prstGeom prst="rect">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4 major hospital campuses</a:t>
          </a:r>
        </a:p>
        <a:p>
          <a:pPr marL="114300" lvl="1" indent="-114300" algn="l" defTabSz="666750" rtl="0">
            <a:lnSpc>
              <a:spcPct val="90000"/>
            </a:lnSpc>
            <a:spcBef>
              <a:spcPct val="0"/>
            </a:spcBef>
            <a:spcAft>
              <a:spcPct val="15000"/>
            </a:spcAft>
            <a:buChar char="•"/>
          </a:pPr>
          <a:r>
            <a:rPr lang="en-US" sz="1500" b="0" kern="1200" dirty="0">
              <a:latin typeface="Calibri"/>
              <a:ea typeface="Calibri"/>
              <a:cs typeface="Calibri"/>
            </a:rPr>
            <a:t>6 satellite clinics</a:t>
          </a:r>
        </a:p>
      </dsp:txBody>
      <dsp:txXfrm>
        <a:off x="5854186" y="1783030"/>
        <a:ext cx="1710918" cy="25940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9426E9-4236-402A-98BF-11E2D7B63DD3}">
      <dsp:nvSpPr>
        <dsp:cNvPr id="0" name=""/>
        <dsp:cNvSpPr/>
      </dsp:nvSpPr>
      <dsp:spPr>
        <a:xfrm>
          <a:off x="0" y="29785"/>
          <a:ext cx="6879006" cy="764156"/>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solidFill>
                <a:schemeClr val="bg1"/>
              </a:solidFill>
              <a:latin typeface="Calibri"/>
              <a:ea typeface="Calibri"/>
              <a:cs typeface="Calibri"/>
            </a:rPr>
            <a:t>Adolescents transitioning from pediatric to adult diabetes care</a:t>
          </a:r>
          <a:endParaRPr lang="en-US" kern="1200" dirty="0"/>
        </a:p>
      </dsp:txBody>
      <dsp:txXfrm>
        <a:off x="37303" y="67088"/>
        <a:ext cx="6804400" cy="689550"/>
      </dsp:txXfrm>
    </dsp:sp>
    <dsp:sp modelId="{C7D0DBD5-09DF-446D-8696-4A1882A8951E}">
      <dsp:nvSpPr>
        <dsp:cNvPr id="0" name=""/>
        <dsp:cNvSpPr/>
      </dsp:nvSpPr>
      <dsp:spPr>
        <a:xfrm>
          <a:off x="0" y="793942"/>
          <a:ext cx="6879006" cy="521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840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Calibri"/>
              <a:ea typeface="Calibri"/>
              <a:cs typeface="Calibri"/>
            </a:rPr>
            <a:t>Experience increased self-management demands</a:t>
          </a:r>
        </a:p>
        <a:p>
          <a:pPr marL="114300" lvl="1" indent="-114300" algn="l" defTabSz="666750" rtl="0">
            <a:lnSpc>
              <a:spcPct val="90000"/>
            </a:lnSpc>
            <a:spcBef>
              <a:spcPct val="0"/>
            </a:spcBef>
            <a:spcAft>
              <a:spcPct val="20000"/>
            </a:spcAft>
            <a:buChar char="•"/>
          </a:pPr>
          <a:r>
            <a:rPr lang="en-US" sz="1500" kern="1200" dirty="0">
              <a:latin typeface="Calibri"/>
              <a:ea typeface="Calibri"/>
              <a:cs typeface="Calibri"/>
            </a:rPr>
            <a:t>Navigate a crucial and vulnerable stage of development</a:t>
          </a:r>
        </a:p>
      </dsp:txBody>
      <dsp:txXfrm>
        <a:off x="0" y="793942"/>
        <a:ext cx="6879006" cy="521122"/>
      </dsp:txXfrm>
    </dsp:sp>
    <dsp:sp modelId="{93DADB74-4D8F-4771-BE2C-457BFB4D13C0}">
      <dsp:nvSpPr>
        <dsp:cNvPr id="0" name=""/>
        <dsp:cNvSpPr/>
      </dsp:nvSpPr>
      <dsp:spPr>
        <a:xfrm>
          <a:off x="0" y="1315064"/>
          <a:ext cx="6879006" cy="764156"/>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latin typeface="Calibri"/>
              <a:ea typeface="Calibri"/>
              <a:cs typeface="Calibri"/>
            </a:rPr>
            <a:t>Poorly coordinated transition</a:t>
          </a:r>
          <a:endParaRPr lang="en-US" sz="1900" kern="1200" dirty="0"/>
        </a:p>
      </dsp:txBody>
      <dsp:txXfrm>
        <a:off x="37303" y="1352367"/>
        <a:ext cx="6804400" cy="689550"/>
      </dsp:txXfrm>
    </dsp:sp>
    <dsp:sp modelId="{BBA85F17-A1E4-4BDC-8E36-4B8E52669CB6}">
      <dsp:nvSpPr>
        <dsp:cNvPr id="0" name=""/>
        <dsp:cNvSpPr/>
      </dsp:nvSpPr>
      <dsp:spPr>
        <a:xfrm>
          <a:off x="0" y="2079220"/>
          <a:ext cx="6879006" cy="786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840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Calibri"/>
              <a:ea typeface="Calibri"/>
              <a:cs typeface="Calibri"/>
            </a:rPr>
            <a:t>Lead to gaps in care, including decreased follow-up</a:t>
          </a:r>
        </a:p>
        <a:p>
          <a:pPr marL="114300" lvl="1" indent="-114300" algn="l" defTabSz="666750" rtl="0">
            <a:lnSpc>
              <a:spcPct val="90000"/>
            </a:lnSpc>
            <a:spcBef>
              <a:spcPct val="0"/>
            </a:spcBef>
            <a:spcAft>
              <a:spcPct val="20000"/>
            </a:spcAft>
            <a:buChar char="•"/>
          </a:pPr>
          <a:r>
            <a:rPr lang="en-US" sz="1500" kern="1200" dirty="0">
              <a:latin typeface="Calibri"/>
              <a:ea typeface="Calibri"/>
              <a:cs typeface="Calibri"/>
            </a:rPr>
            <a:t>Contributes to worsening glycemic control </a:t>
          </a:r>
        </a:p>
        <a:p>
          <a:pPr marL="114300" lvl="1" indent="-114300" algn="l" defTabSz="666750" rtl="0">
            <a:lnSpc>
              <a:spcPct val="90000"/>
            </a:lnSpc>
            <a:spcBef>
              <a:spcPct val="0"/>
            </a:spcBef>
            <a:spcAft>
              <a:spcPct val="20000"/>
            </a:spcAft>
            <a:buChar char="•"/>
          </a:pPr>
          <a:r>
            <a:rPr lang="en-US" sz="1500" kern="1200" dirty="0">
              <a:latin typeface="Calibri"/>
              <a:ea typeface="Calibri"/>
              <a:cs typeface="Calibri"/>
            </a:rPr>
            <a:t>Increased risk of complications, such as hospitalizations</a:t>
          </a:r>
          <a:endParaRPr lang="en-US" sz="1500" kern="1200" dirty="0">
            <a:solidFill>
              <a:srgbClr val="000000"/>
            </a:solidFill>
            <a:latin typeface="Calibri"/>
            <a:ea typeface="Calibri"/>
            <a:cs typeface="Calibri"/>
          </a:endParaRPr>
        </a:p>
      </dsp:txBody>
      <dsp:txXfrm>
        <a:off x="0" y="2079220"/>
        <a:ext cx="6879006" cy="786599"/>
      </dsp:txXfrm>
    </dsp:sp>
    <dsp:sp modelId="{1EF534D5-3F59-4F74-8425-B82DC1B40FEC}">
      <dsp:nvSpPr>
        <dsp:cNvPr id="0" name=""/>
        <dsp:cNvSpPr/>
      </dsp:nvSpPr>
      <dsp:spPr>
        <a:xfrm>
          <a:off x="0" y="2865820"/>
          <a:ext cx="6879006" cy="764156"/>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dirty="0">
              <a:solidFill>
                <a:schemeClr val="bg1"/>
              </a:solidFill>
              <a:latin typeface="Calibri"/>
              <a:ea typeface="Calibri"/>
              <a:cs typeface="Calibri"/>
            </a:rPr>
            <a:t>Guidelines (i.e., ADA and ISPAD) emphasize a planned transition process</a:t>
          </a:r>
          <a:endParaRPr lang="en-US" sz="1900" kern="1200" dirty="0"/>
        </a:p>
      </dsp:txBody>
      <dsp:txXfrm>
        <a:off x="37303" y="2903123"/>
        <a:ext cx="6804400" cy="689550"/>
      </dsp:txXfrm>
    </dsp:sp>
    <dsp:sp modelId="{A00955BE-18B2-47D7-8B98-8FBD9567A5F1}">
      <dsp:nvSpPr>
        <dsp:cNvPr id="0" name=""/>
        <dsp:cNvSpPr/>
      </dsp:nvSpPr>
      <dsp:spPr>
        <a:xfrm>
          <a:off x="0" y="3629977"/>
          <a:ext cx="6879006"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8408"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dirty="0">
              <a:solidFill>
                <a:schemeClr val="tx1"/>
              </a:solidFill>
              <a:latin typeface="Calibri"/>
              <a:ea typeface="Calibri"/>
              <a:cs typeface="Calibri"/>
            </a:rPr>
            <a:t>Highlighting the need for structured education and preparation</a:t>
          </a:r>
        </a:p>
      </dsp:txBody>
      <dsp:txXfrm>
        <a:off x="0" y="3629977"/>
        <a:ext cx="6879006" cy="3146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739627-4C0F-4FF3-B5B2-8662ED1FCF95}">
      <dsp:nvSpPr>
        <dsp:cNvPr id="0" name=""/>
        <dsp:cNvSpPr/>
      </dsp:nvSpPr>
      <dsp:spPr>
        <a:xfrm rot="5400000">
          <a:off x="-579724" y="1220988"/>
          <a:ext cx="1440267" cy="278528"/>
        </a:xfrm>
        <a:prstGeom prst="corner">
          <a:avLst>
            <a:gd name="adj1" fmla="val 1000"/>
            <a:gd name="adj2" fmla="val 1000"/>
          </a:avLst>
        </a:prstGeom>
        <a:solidFill>
          <a:schemeClr val="lt1">
            <a:hueOff val="0"/>
            <a:satOff val="0"/>
            <a:lumOff val="0"/>
            <a:alphaOff val="0"/>
          </a:schemeClr>
        </a:solidFill>
        <a:ln w="1905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1BFD19E-013F-425F-9E1D-B8D9E2D547D4}">
      <dsp:nvSpPr>
        <dsp:cNvPr id="0" name=""/>
        <dsp:cNvSpPr/>
      </dsp:nvSpPr>
      <dsp:spPr>
        <a:xfrm>
          <a:off x="1144" y="2080386"/>
          <a:ext cx="3481610" cy="480089"/>
        </a:xfrm>
        <a:prstGeom prst="homePlate">
          <a:avLst>
            <a:gd name="adj" fmla="val 25000"/>
          </a:avLst>
        </a:prstGeom>
        <a:solidFill>
          <a:schemeClr val="accent3">
            <a:hueOff val="0"/>
            <a:satOff val="0"/>
            <a:lumOff val="0"/>
            <a:alphaOff val="0"/>
          </a:schemeClr>
        </a:solidFill>
        <a:ln w="1905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228600" rIns="114300" bIns="228600" numCol="1" spcCol="1270" anchor="ctr" anchorCtr="0">
          <a:noAutofit/>
        </a:bodyPr>
        <a:lstStyle/>
        <a:p>
          <a:pPr marL="0" lvl="0" indent="0" algn="l" defTabSz="800100">
            <a:lnSpc>
              <a:spcPct val="90000"/>
            </a:lnSpc>
            <a:spcBef>
              <a:spcPct val="0"/>
            </a:spcBef>
            <a:spcAft>
              <a:spcPct val="35000"/>
            </a:spcAft>
            <a:buNone/>
            <a:defRPr b="1"/>
          </a:pPr>
          <a:r>
            <a:rPr lang="en-US" sz="1800" b="1" kern="1200" dirty="0">
              <a:latin typeface="Calibri"/>
              <a:ea typeface="+mn-ea"/>
              <a:cs typeface="+mn-cs"/>
            </a:rPr>
            <a:t>Nov 2023</a:t>
          </a:r>
        </a:p>
      </dsp:txBody>
      <dsp:txXfrm>
        <a:off x="1144" y="2080386"/>
        <a:ext cx="3421599" cy="480089"/>
      </dsp:txXfrm>
    </dsp:sp>
    <dsp:sp modelId="{55B948EC-5D29-469C-90DD-A346A63BEB1F}">
      <dsp:nvSpPr>
        <dsp:cNvPr id="0" name=""/>
        <dsp:cNvSpPr/>
      </dsp:nvSpPr>
      <dsp:spPr>
        <a:xfrm>
          <a:off x="279673" y="807236"/>
          <a:ext cx="2827067" cy="9421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rtl="0">
            <a:lnSpc>
              <a:spcPct val="90000"/>
            </a:lnSpc>
            <a:spcBef>
              <a:spcPct val="0"/>
            </a:spcBef>
            <a:spcAft>
              <a:spcPct val="35000"/>
            </a:spcAft>
            <a:buNone/>
          </a:pPr>
          <a:r>
            <a:rPr lang="en-US" sz="1400" b="1" kern="1200" dirty="0">
              <a:latin typeface="Calibri"/>
              <a:ea typeface="+mn-ea"/>
              <a:cs typeface="+mn-cs"/>
            </a:rPr>
            <a:t>Implemented a transitions policy with transition curriculum</a:t>
          </a:r>
        </a:p>
        <a:p>
          <a:pPr marL="0" lvl="0" indent="0" algn="l" defTabSz="622300" rtl="0">
            <a:lnSpc>
              <a:spcPct val="90000"/>
            </a:lnSpc>
            <a:spcBef>
              <a:spcPct val="0"/>
            </a:spcBef>
            <a:spcAft>
              <a:spcPct val="35000"/>
            </a:spcAft>
            <a:buNone/>
          </a:pPr>
          <a:r>
            <a:rPr lang="en-US" sz="1400" b="1" kern="1200" dirty="0">
              <a:latin typeface="Calibri"/>
              <a:ea typeface="+mn-ea"/>
              <a:cs typeface="+mn-cs"/>
            </a:rPr>
            <a:t>Integrated EMR tools including provider flowsheet with anticipated transition date &amp; education topics</a:t>
          </a:r>
        </a:p>
      </dsp:txBody>
      <dsp:txXfrm>
        <a:off x="279673" y="807236"/>
        <a:ext cx="2827067" cy="942147"/>
      </dsp:txXfrm>
    </dsp:sp>
    <dsp:sp modelId="{57802E43-64E3-4E0A-8705-B64768B24FCD}">
      <dsp:nvSpPr>
        <dsp:cNvPr id="0" name=""/>
        <dsp:cNvSpPr/>
      </dsp:nvSpPr>
      <dsp:spPr>
        <a:xfrm rot="5400000">
          <a:off x="2832253" y="1220988"/>
          <a:ext cx="1440267" cy="278528"/>
        </a:xfrm>
        <a:prstGeom prst="corner">
          <a:avLst>
            <a:gd name="adj1" fmla="val 1000"/>
            <a:gd name="adj2" fmla="val 1000"/>
          </a:avLst>
        </a:prstGeom>
        <a:solidFill>
          <a:schemeClr val="lt1">
            <a:hueOff val="0"/>
            <a:satOff val="0"/>
            <a:lumOff val="0"/>
            <a:alphaOff val="0"/>
          </a:schemeClr>
        </a:solidFill>
        <a:ln w="19050" cap="flat" cmpd="sng" algn="ctr">
          <a:solidFill>
            <a:schemeClr val="accent3">
              <a:hueOff val="4117163"/>
              <a:satOff val="24712"/>
              <a:lumOff val="18825"/>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152C46-05CA-4F0B-9FEE-E1D4734E2195}">
      <dsp:nvSpPr>
        <dsp:cNvPr id="0" name=""/>
        <dsp:cNvSpPr/>
      </dsp:nvSpPr>
      <dsp:spPr>
        <a:xfrm>
          <a:off x="3413122" y="2080386"/>
          <a:ext cx="3481610" cy="480089"/>
        </a:xfrm>
        <a:prstGeom prst="chevron">
          <a:avLst>
            <a:gd name="adj" fmla="val 25000"/>
          </a:avLst>
        </a:prstGeom>
        <a:solidFill>
          <a:schemeClr val="accent3">
            <a:hueOff val="4117163"/>
            <a:satOff val="24712"/>
            <a:lumOff val="18825"/>
            <a:alphaOff val="0"/>
          </a:schemeClr>
        </a:solidFill>
        <a:ln w="19050" cap="flat" cmpd="sng" algn="ctr">
          <a:solidFill>
            <a:schemeClr val="accent3">
              <a:hueOff val="4117163"/>
              <a:satOff val="24712"/>
              <a:lumOff val="1882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228600" rIns="114300" bIns="228600" numCol="1" spcCol="1270" anchor="ctr" anchorCtr="0">
          <a:noAutofit/>
        </a:bodyPr>
        <a:lstStyle/>
        <a:p>
          <a:pPr marL="0" lvl="0" indent="0" algn="l" defTabSz="800100">
            <a:lnSpc>
              <a:spcPct val="90000"/>
            </a:lnSpc>
            <a:spcBef>
              <a:spcPct val="0"/>
            </a:spcBef>
            <a:spcAft>
              <a:spcPct val="35000"/>
            </a:spcAft>
            <a:buNone/>
            <a:defRPr b="1"/>
          </a:pPr>
          <a:r>
            <a:rPr lang="en-US" sz="1800" kern="1200" dirty="0">
              <a:latin typeface="Calibri"/>
              <a:ea typeface="+mn-ea"/>
              <a:cs typeface="+mn-cs"/>
            </a:rPr>
            <a:t>Jan 2024</a:t>
          </a:r>
        </a:p>
      </dsp:txBody>
      <dsp:txXfrm>
        <a:off x="3533144" y="2080386"/>
        <a:ext cx="3241566" cy="480089"/>
      </dsp:txXfrm>
    </dsp:sp>
    <dsp:sp modelId="{FBC96F52-3FAE-4931-A98C-8E44ADEE80AF}">
      <dsp:nvSpPr>
        <dsp:cNvPr id="0" name=""/>
        <dsp:cNvSpPr/>
      </dsp:nvSpPr>
      <dsp:spPr>
        <a:xfrm>
          <a:off x="3691651" y="807236"/>
          <a:ext cx="2827067" cy="9421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rtl="0">
            <a:lnSpc>
              <a:spcPct val="90000"/>
            </a:lnSpc>
            <a:spcBef>
              <a:spcPct val="0"/>
            </a:spcBef>
            <a:spcAft>
              <a:spcPct val="35000"/>
            </a:spcAft>
            <a:buNone/>
          </a:pPr>
          <a:r>
            <a:rPr lang="en-US" sz="1400" b="1" kern="1200" dirty="0">
              <a:latin typeface="Calibri"/>
              <a:ea typeface="+mn-ea"/>
              <a:cs typeface="+mn-cs"/>
            </a:rPr>
            <a:t>Defined transition tasks for each member of the diabetes care team (i.e., provider, CDCES, social worker)</a:t>
          </a:r>
        </a:p>
      </dsp:txBody>
      <dsp:txXfrm>
        <a:off x="3691651" y="807236"/>
        <a:ext cx="2827067" cy="94214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739627-4C0F-4FF3-B5B2-8662ED1FCF95}">
      <dsp:nvSpPr>
        <dsp:cNvPr id="0" name=""/>
        <dsp:cNvSpPr/>
      </dsp:nvSpPr>
      <dsp:spPr>
        <a:xfrm rot="5400000">
          <a:off x="-769841" y="1540237"/>
          <a:ext cx="1728523" cy="184514"/>
        </a:xfrm>
        <a:prstGeom prst="corner">
          <a:avLst>
            <a:gd name="adj1" fmla="val 1000"/>
            <a:gd name="adj2" fmla="val 1000"/>
          </a:avLst>
        </a:prstGeom>
        <a:solidFill>
          <a:schemeClr val="lt1">
            <a:hueOff val="0"/>
            <a:satOff val="0"/>
            <a:lumOff val="0"/>
            <a:alphaOff val="0"/>
          </a:schemeClr>
        </a:solidFill>
        <a:ln w="1905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1BFD19E-013F-425F-9E1D-B8D9E2D547D4}">
      <dsp:nvSpPr>
        <dsp:cNvPr id="0" name=""/>
        <dsp:cNvSpPr/>
      </dsp:nvSpPr>
      <dsp:spPr>
        <a:xfrm>
          <a:off x="2163" y="2496755"/>
          <a:ext cx="2306427" cy="576174"/>
        </a:xfrm>
        <a:prstGeom prst="homePlate">
          <a:avLst>
            <a:gd name="adj" fmla="val 25000"/>
          </a:avLst>
        </a:prstGeom>
        <a:solidFill>
          <a:schemeClr val="accent3">
            <a:hueOff val="0"/>
            <a:satOff val="0"/>
            <a:lumOff val="0"/>
            <a:alphaOff val="0"/>
          </a:schemeClr>
        </a:solidFill>
        <a:ln w="1905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228600" rIns="114300" bIns="228600" numCol="1" spcCol="1270" anchor="ctr" anchorCtr="0">
          <a:noAutofit/>
        </a:bodyPr>
        <a:lstStyle/>
        <a:p>
          <a:pPr marL="0" lvl="0" indent="0" algn="l" defTabSz="800100">
            <a:lnSpc>
              <a:spcPct val="90000"/>
            </a:lnSpc>
            <a:spcBef>
              <a:spcPct val="0"/>
            </a:spcBef>
            <a:spcAft>
              <a:spcPct val="35000"/>
            </a:spcAft>
            <a:buNone/>
            <a:defRPr b="1"/>
          </a:pPr>
          <a:r>
            <a:rPr lang="en-US" sz="1800" b="1" kern="1200" dirty="0">
              <a:latin typeface="Calibri"/>
              <a:ea typeface="+mn-ea"/>
              <a:cs typeface="+mn-cs"/>
            </a:rPr>
            <a:t>Nov 2023</a:t>
          </a:r>
        </a:p>
      </dsp:txBody>
      <dsp:txXfrm>
        <a:off x="2163" y="2496755"/>
        <a:ext cx="2234405" cy="576174"/>
      </dsp:txXfrm>
    </dsp:sp>
    <dsp:sp modelId="{55B948EC-5D29-469C-90DD-A346A63BEB1F}">
      <dsp:nvSpPr>
        <dsp:cNvPr id="0" name=""/>
        <dsp:cNvSpPr/>
      </dsp:nvSpPr>
      <dsp:spPr>
        <a:xfrm>
          <a:off x="186677" y="878941"/>
          <a:ext cx="1872819" cy="1086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00075" rtl="0">
            <a:lnSpc>
              <a:spcPct val="90000"/>
            </a:lnSpc>
            <a:spcBef>
              <a:spcPct val="0"/>
            </a:spcBef>
            <a:spcAft>
              <a:spcPct val="35000"/>
            </a:spcAft>
            <a:buNone/>
          </a:pPr>
          <a:r>
            <a:rPr lang="en-US" sz="1350" b="1" kern="1200" dirty="0">
              <a:latin typeface="Calibri"/>
              <a:ea typeface="+mn-ea"/>
              <a:cs typeface="+mn-cs"/>
            </a:rPr>
            <a:t>Implemented a transitions policy with transition curriculum</a:t>
          </a:r>
        </a:p>
        <a:p>
          <a:pPr marL="0" lvl="0" indent="0" algn="l" defTabSz="600075" rtl="0">
            <a:lnSpc>
              <a:spcPct val="90000"/>
            </a:lnSpc>
            <a:spcBef>
              <a:spcPct val="0"/>
            </a:spcBef>
            <a:spcAft>
              <a:spcPct val="35000"/>
            </a:spcAft>
            <a:buNone/>
          </a:pPr>
          <a:r>
            <a:rPr lang="en-US" sz="1350" b="1" kern="1200" dirty="0">
              <a:latin typeface="Calibri"/>
              <a:ea typeface="+mn-ea"/>
              <a:cs typeface="+mn-cs"/>
            </a:rPr>
            <a:t>Integrated EMR tools including provider flowsheet with anticipated transition date &amp; education topics</a:t>
          </a:r>
        </a:p>
      </dsp:txBody>
      <dsp:txXfrm>
        <a:off x="186677" y="878941"/>
        <a:ext cx="1872819" cy="1086206"/>
      </dsp:txXfrm>
    </dsp:sp>
    <dsp:sp modelId="{57802E43-64E3-4E0A-8705-B64768B24FCD}">
      <dsp:nvSpPr>
        <dsp:cNvPr id="0" name=""/>
        <dsp:cNvSpPr/>
      </dsp:nvSpPr>
      <dsp:spPr>
        <a:xfrm rot="5400000">
          <a:off x="1421264" y="1540237"/>
          <a:ext cx="1728523" cy="184514"/>
        </a:xfrm>
        <a:prstGeom prst="corner">
          <a:avLst>
            <a:gd name="adj1" fmla="val 1000"/>
            <a:gd name="adj2" fmla="val 1000"/>
          </a:avLst>
        </a:prstGeom>
        <a:solidFill>
          <a:schemeClr val="lt1">
            <a:hueOff val="0"/>
            <a:satOff val="0"/>
            <a:lumOff val="0"/>
            <a:alphaOff val="0"/>
          </a:schemeClr>
        </a:solidFill>
        <a:ln w="19050" cap="flat" cmpd="sng" algn="ctr">
          <a:solidFill>
            <a:schemeClr val="accent3">
              <a:hueOff val="1029291"/>
              <a:satOff val="6178"/>
              <a:lumOff val="4706"/>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152C46-05CA-4F0B-9FEE-E1D4734E2195}">
      <dsp:nvSpPr>
        <dsp:cNvPr id="0" name=""/>
        <dsp:cNvSpPr/>
      </dsp:nvSpPr>
      <dsp:spPr>
        <a:xfrm>
          <a:off x="2193269" y="2496755"/>
          <a:ext cx="2306427" cy="576174"/>
        </a:xfrm>
        <a:prstGeom prst="chevron">
          <a:avLst>
            <a:gd name="adj" fmla="val 25000"/>
          </a:avLst>
        </a:prstGeom>
        <a:solidFill>
          <a:schemeClr val="accent3">
            <a:hueOff val="1029291"/>
            <a:satOff val="6178"/>
            <a:lumOff val="4706"/>
            <a:alphaOff val="0"/>
          </a:schemeClr>
        </a:solidFill>
        <a:ln w="19050" cap="flat" cmpd="sng" algn="ctr">
          <a:solidFill>
            <a:schemeClr val="accent3">
              <a:hueOff val="1029291"/>
              <a:satOff val="6178"/>
              <a:lumOff val="470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228600" rIns="114300" bIns="228600" numCol="1" spcCol="1270" anchor="ctr" anchorCtr="0">
          <a:noAutofit/>
        </a:bodyPr>
        <a:lstStyle/>
        <a:p>
          <a:pPr marL="0" lvl="0" indent="0" algn="l" defTabSz="800100">
            <a:lnSpc>
              <a:spcPct val="90000"/>
            </a:lnSpc>
            <a:spcBef>
              <a:spcPct val="0"/>
            </a:spcBef>
            <a:spcAft>
              <a:spcPct val="35000"/>
            </a:spcAft>
            <a:buNone/>
            <a:defRPr b="1"/>
          </a:pPr>
          <a:r>
            <a:rPr lang="en-US" sz="1800" kern="1200" dirty="0">
              <a:latin typeface="Calibri"/>
              <a:ea typeface="+mn-ea"/>
              <a:cs typeface="+mn-cs"/>
            </a:rPr>
            <a:t>Jan 2024</a:t>
          </a:r>
        </a:p>
      </dsp:txBody>
      <dsp:txXfrm>
        <a:off x="2337313" y="2496755"/>
        <a:ext cx="2018340" cy="576174"/>
      </dsp:txXfrm>
    </dsp:sp>
    <dsp:sp modelId="{FBC96F52-3FAE-4931-A98C-8E44ADEE80AF}">
      <dsp:nvSpPr>
        <dsp:cNvPr id="0" name=""/>
        <dsp:cNvSpPr/>
      </dsp:nvSpPr>
      <dsp:spPr>
        <a:xfrm>
          <a:off x="2377783" y="878941"/>
          <a:ext cx="1872819" cy="1086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rtl="0">
            <a:lnSpc>
              <a:spcPct val="90000"/>
            </a:lnSpc>
            <a:spcBef>
              <a:spcPct val="0"/>
            </a:spcBef>
            <a:spcAft>
              <a:spcPct val="35000"/>
            </a:spcAft>
            <a:buNone/>
          </a:pPr>
          <a:r>
            <a:rPr lang="en-US" sz="1400" b="1" kern="1200" dirty="0">
              <a:latin typeface="Calibri"/>
              <a:ea typeface="+mn-ea"/>
              <a:cs typeface="+mn-cs"/>
            </a:rPr>
            <a:t>Defined transition tasks for each member of the diabetes care team (i.e., provider, CDCES, social worker)</a:t>
          </a:r>
        </a:p>
      </dsp:txBody>
      <dsp:txXfrm>
        <a:off x="2377783" y="878941"/>
        <a:ext cx="1872819" cy="1086206"/>
      </dsp:txXfrm>
    </dsp:sp>
    <dsp:sp modelId="{4D457925-AAEE-4A89-9603-61862D07EF7D}">
      <dsp:nvSpPr>
        <dsp:cNvPr id="0" name=""/>
        <dsp:cNvSpPr/>
      </dsp:nvSpPr>
      <dsp:spPr>
        <a:xfrm rot="5400000">
          <a:off x="3612371" y="1540237"/>
          <a:ext cx="1728523" cy="184514"/>
        </a:xfrm>
        <a:prstGeom prst="corner">
          <a:avLst>
            <a:gd name="adj1" fmla="val 1000"/>
            <a:gd name="adj2" fmla="val 1000"/>
          </a:avLst>
        </a:prstGeom>
        <a:solidFill>
          <a:schemeClr val="lt1">
            <a:hueOff val="0"/>
            <a:satOff val="0"/>
            <a:lumOff val="0"/>
            <a:alphaOff val="0"/>
          </a:schemeClr>
        </a:solidFill>
        <a:ln w="19050" cap="flat" cmpd="sng" algn="ctr">
          <a:solidFill>
            <a:schemeClr val="accent3">
              <a:hueOff val="2058582"/>
              <a:satOff val="12356"/>
              <a:lumOff val="9413"/>
              <a:alphaOff val="0"/>
            </a:schemeClr>
          </a:solidFill>
          <a:prstDash val="solid"/>
          <a:miter lim="800000"/>
        </a:ln>
        <a:effectLst/>
      </dsp:spPr>
      <dsp:style>
        <a:lnRef idx="2">
          <a:scrgbClr r="0" g="0" b="0"/>
        </a:lnRef>
        <a:fillRef idx="1">
          <a:scrgbClr r="0" g="0" b="0"/>
        </a:fillRef>
        <a:effectRef idx="0">
          <a:scrgbClr r="0" g="0" b="0"/>
        </a:effectRef>
        <a:fontRef idx="minor"/>
      </dsp:style>
    </dsp:sp>
    <dsp:sp modelId="{C443C9CC-2017-4297-9CED-0183F181388F}">
      <dsp:nvSpPr>
        <dsp:cNvPr id="0" name=""/>
        <dsp:cNvSpPr/>
      </dsp:nvSpPr>
      <dsp:spPr>
        <a:xfrm>
          <a:off x="4384375" y="2496755"/>
          <a:ext cx="2306427" cy="576174"/>
        </a:xfrm>
        <a:prstGeom prst="chevron">
          <a:avLst>
            <a:gd name="adj" fmla="val 25000"/>
          </a:avLst>
        </a:prstGeom>
        <a:solidFill>
          <a:schemeClr val="accent3">
            <a:hueOff val="2058582"/>
            <a:satOff val="12356"/>
            <a:lumOff val="9413"/>
            <a:alphaOff val="0"/>
          </a:schemeClr>
        </a:solidFill>
        <a:ln w="19050" cap="flat" cmpd="sng" algn="ctr">
          <a:solidFill>
            <a:schemeClr val="accent3">
              <a:hueOff val="2058582"/>
              <a:satOff val="12356"/>
              <a:lumOff val="941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228600" rIns="114300" bIns="228600" numCol="1" spcCol="1270" anchor="ctr" anchorCtr="0">
          <a:noAutofit/>
        </a:bodyPr>
        <a:lstStyle/>
        <a:p>
          <a:pPr marL="0" lvl="0" indent="0" algn="l" defTabSz="800100">
            <a:lnSpc>
              <a:spcPct val="90000"/>
            </a:lnSpc>
            <a:spcBef>
              <a:spcPct val="0"/>
            </a:spcBef>
            <a:spcAft>
              <a:spcPct val="35000"/>
            </a:spcAft>
            <a:buNone/>
            <a:defRPr b="1"/>
          </a:pPr>
          <a:r>
            <a:rPr lang="en-US" sz="1800" kern="1200" dirty="0">
              <a:latin typeface="Calibri"/>
              <a:ea typeface="+mn-ea"/>
              <a:cs typeface="+mn-cs"/>
            </a:rPr>
            <a:t>Feb 2024</a:t>
          </a:r>
        </a:p>
      </dsp:txBody>
      <dsp:txXfrm>
        <a:off x="4528419" y="2496755"/>
        <a:ext cx="2018340" cy="576174"/>
      </dsp:txXfrm>
    </dsp:sp>
    <dsp:sp modelId="{CAD96959-A535-468F-BB30-103C9E3BC371}">
      <dsp:nvSpPr>
        <dsp:cNvPr id="0" name=""/>
        <dsp:cNvSpPr/>
      </dsp:nvSpPr>
      <dsp:spPr>
        <a:xfrm>
          <a:off x="4568889" y="878941"/>
          <a:ext cx="1872819" cy="1086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rtl="0">
            <a:lnSpc>
              <a:spcPct val="90000"/>
            </a:lnSpc>
            <a:spcBef>
              <a:spcPct val="0"/>
            </a:spcBef>
            <a:spcAft>
              <a:spcPct val="35000"/>
            </a:spcAft>
            <a:buNone/>
          </a:pPr>
          <a:r>
            <a:rPr lang="en-US" sz="1400" b="1" kern="1200" dirty="0">
              <a:latin typeface="Calibri"/>
              <a:ea typeface="+mn-ea"/>
              <a:cs typeface="+mn-cs"/>
            </a:rPr>
            <a:t>Conducted a transition seminar for staff/providers on key education topics to increase comfort &amp; knowledge</a:t>
          </a:r>
        </a:p>
      </dsp:txBody>
      <dsp:txXfrm>
        <a:off x="4568889" y="878941"/>
        <a:ext cx="1872819" cy="1086206"/>
      </dsp:txXfrm>
    </dsp:sp>
    <dsp:sp modelId="{154EABA3-ECBB-4123-B78A-CF6B6839F4B1}">
      <dsp:nvSpPr>
        <dsp:cNvPr id="0" name=""/>
        <dsp:cNvSpPr/>
      </dsp:nvSpPr>
      <dsp:spPr>
        <a:xfrm rot="5400000">
          <a:off x="5803477" y="1540237"/>
          <a:ext cx="1728523" cy="184514"/>
        </a:xfrm>
        <a:prstGeom prst="corner">
          <a:avLst>
            <a:gd name="adj1" fmla="val 1000"/>
            <a:gd name="adj2" fmla="val 1000"/>
          </a:avLst>
        </a:prstGeom>
        <a:solidFill>
          <a:schemeClr val="lt1">
            <a:hueOff val="0"/>
            <a:satOff val="0"/>
            <a:lumOff val="0"/>
            <a:alphaOff val="0"/>
          </a:schemeClr>
        </a:solidFill>
        <a:ln w="19050" cap="flat" cmpd="sng" algn="ctr">
          <a:solidFill>
            <a:schemeClr val="accent3">
              <a:hueOff val="3087872"/>
              <a:satOff val="18534"/>
              <a:lumOff val="14119"/>
              <a:alphaOff val="0"/>
            </a:schemeClr>
          </a:solidFill>
          <a:prstDash val="solid"/>
          <a:miter lim="800000"/>
        </a:ln>
        <a:effectLst/>
      </dsp:spPr>
      <dsp:style>
        <a:lnRef idx="2">
          <a:scrgbClr r="0" g="0" b="0"/>
        </a:lnRef>
        <a:fillRef idx="1">
          <a:scrgbClr r="0" g="0" b="0"/>
        </a:fillRef>
        <a:effectRef idx="0">
          <a:scrgbClr r="0" g="0" b="0"/>
        </a:effectRef>
        <a:fontRef idx="minor"/>
      </dsp:style>
    </dsp:sp>
    <dsp:sp modelId="{8EB5FB2E-FD21-4493-BF05-A1039629E8B3}">
      <dsp:nvSpPr>
        <dsp:cNvPr id="0" name=""/>
        <dsp:cNvSpPr/>
      </dsp:nvSpPr>
      <dsp:spPr>
        <a:xfrm>
          <a:off x="6575481" y="2496755"/>
          <a:ext cx="2306427" cy="576174"/>
        </a:xfrm>
        <a:prstGeom prst="chevron">
          <a:avLst>
            <a:gd name="adj" fmla="val 25000"/>
          </a:avLst>
        </a:prstGeom>
        <a:solidFill>
          <a:schemeClr val="accent3">
            <a:hueOff val="3087872"/>
            <a:satOff val="18534"/>
            <a:lumOff val="14119"/>
            <a:alphaOff val="0"/>
          </a:schemeClr>
        </a:solidFill>
        <a:ln w="19050" cap="flat" cmpd="sng" algn="ctr">
          <a:solidFill>
            <a:schemeClr val="accent3">
              <a:hueOff val="3087872"/>
              <a:satOff val="18534"/>
              <a:lumOff val="1411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228600" rIns="114300" bIns="228600" numCol="1" spcCol="1270" anchor="ctr" anchorCtr="0">
          <a:noAutofit/>
        </a:bodyPr>
        <a:lstStyle/>
        <a:p>
          <a:pPr marL="0" lvl="0" indent="0" algn="l" defTabSz="800100">
            <a:lnSpc>
              <a:spcPct val="90000"/>
            </a:lnSpc>
            <a:spcBef>
              <a:spcPct val="0"/>
            </a:spcBef>
            <a:spcAft>
              <a:spcPct val="35000"/>
            </a:spcAft>
            <a:buNone/>
            <a:defRPr b="1"/>
          </a:pPr>
          <a:r>
            <a:rPr lang="en-US" sz="1800" kern="1200" dirty="0">
              <a:latin typeface="Calibri"/>
              <a:ea typeface="+mn-ea"/>
              <a:cs typeface="+mn-cs"/>
            </a:rPr>
            <a:t>May 2024</a:t>
          </a:r>
        </a:p>
      </dsp:txBody>
      <dsp:txXfrm>
        <a:off x="6719525" y="2496755"/>
        <a:ext cx="2018340" cy="576174"/>
      </dsp:txXfrm>
    </dsp:sp>
    <dsp:sp modelId="{F48EE89F-7399-4017-9C3B-EEFF43A7C04C}">
      <dsp:nvSpPr>
        <dsp:cNvPr id="0" name=""/>
        <dsp:cNvSpPr/>
      </dsp:nvSpPr>
      <dsp:spPr>
        <a:xfrm>
          <a:off x="6759996" y="878941"/>
          <a:ext cx="1872819" cy="1086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rtl="0">
            <a:lnSpc>
              <a:spcPct val="90000"/>
            </a:lnSpc>
            <a:spcBef>
              <a:spcPct val="0"/>
            </a:spcBef>
            <a:spcAft>
              <a:spcPct val="35000"/>
            </a:spcAft>
            <a:buNone/>
          </a:pPr>
          <a:r>
            <a:rPr lang="en-US" sz="1400" b="1" kern="1200" dirty="0">
              <a:latin typeface="Calibri"/>
              <a:ea typeface="+mn-ea"/>
              <a:cs typeface="+mn-cs"/>
            </a:rPr>
            <a:t>Updated &amp; disseminated a geographical-based list of local adult endocrinologists</a:t>
          </a:r>
        </a:p>
      </dsp:txBody>
      <dsp:txXfrm>
        <a:off x="6759996" y="878941"/>
        <a:ext cx="1872819" cy="1086206"/>
      </dsp:txXfrm>
    </dsp:sp>
    <dsp:sp modelId="{BD94DD56-E69A-47BC-8793-5A2EA5533204}">
      <dsp:nvSpPr>
        <dsp:cNvPr id="0" name=""/>
        <dsp:cNvSpPr/>
      </dsp:nvSpPr>
      <dsp:spPr>
        <a:xfrm rot="5400000">
          <a:off x="7994583" y="1540237"/>
          <a:ext cx="1728523" cy="184514"/>
        </a:xfrm>
        <a:prstGeom prst="corner">
          <a:avLst>
            <a:gd name="adj1" fmla="val 1000"/>
            <a:gd name="adj2" fmla="val 1000"/>
          </a:avLst>
        </a:prstGeom>
        <a:solidFill>
          <a:schemeClr val="lt1">
            <a:hueOff val="0"/>
            <a:satOff val="0"/>
            <a:lumOff val="0"/>
            <a:alphaOff val="0"/>
          </a:schemeClr>
        </a:solidFill>
        <a:ln w="19050" cap="flat" cmpd="sng" algn="ctr">
          <a:solidFill>
            <a:schemeClr val="accent3">
              <a:hueOff val="4117163"/>
              <a:satOff val="24712"/>
              <a:lumOff val="18825"/>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844460-F1BA-4654-959A-768ADD62A7C6}">
      <dsp:nvSpPr>
        <dsp:cNvPr id="0" name=""/>
        <dsp:cNvSpPr/>
      </dsp:nvSpPr>
      <dsp:spPr>
        <a:xfrm>
          <a:off x="8766588" y="2496755"/>
          <a:ext cx="2306427" cy="576174"/>
        </a:xfrm>
        <a:prstGeom prst="chevron">
          <a:avLst>
            <a:gd name="adj" fmla="val 25000"/>
          </a:avLst>
        </a:prstGeom>
        <a:solidFill>
          <a:schemeClr val="accent3">
            <a:hueOff val="4117163"/>
            <a:satOff val="24712"/>
            <a:lumOff val="18825"/>
            <a:alphaOff val="0"/>
          </a:schemeClr>
        </a:solidFill>
        <a:ln w="19050" cap="flat" cmpd="sng" algn="ctr">
          <a:solidFill>
            <a:schemeClr val="accent3">
              <a:hueOff val="4117163"/>
              <a:satOff val="24712"/>
              <a:lumOff val="1882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228600" rIns="114300" bIns="228600" numCol="1" spcCol="1270" anchor="ctr" anchorCtr="0">
          <a:noAutofit/>
        </a:bodyPr>
        <a:lstStyle/>
        <a:p>
          <a:pPr marL="0" lvl="0" indent="0" algn="l" defTabSz="800100">
            <a:lnSpc>
              <a:spcPct val="90000"/>
            </a:lnSpc>
            <a:spcBef>
              <a:spcPct val="0"/>
            </a:spcBef>
            <a:spcAft>
              <a:spcPct val="35000"/>
            </a:spcAft>
            <a:buNone/>
            <a:defRPr b="1"/>
          </a:pPr>
          <a:r>
            <a:rPr lang="en-US" sz="1800" kern="1200" dirty="0">
              <a:latin typeface="Calibri"/>
              <a:ea typeface="+mn-ea"/>
              <a:cs typeface="+mn-cs"/>
            </a:rPr>
            <a:t>Jan 2025</a:t>
          </a:r>
        </a:p>
      </dsp:txBody>
      <dsp:txXfrm>
        <a:off x="8910632" y="2496755"/>
        <a:ext cx="2018340" cy="576174"/>
      </dsp:txXfrm>
    </dsp:sp>
    <dsp:sp modelId="{214AD936-926C-4826-90CC-29E684C2E1A6}">
      <dsp:nvSpPr>
        <dsp:cNvPr id="0" name=""/>
        <dsp:cNvSpPr/>
      </dsp:nvSpPr>
      <dsp:spPr>
        <a:xfrm>
          <a:off x="8951102" y="878941"/>
          <a:ext cx="1872819" cy="1086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rtl="0">
            <a:lnSpc>
              <a:spcPct val="90000"/>
            </a:lnSpc>
            <a:spcBef>
              <a:spcPct val="0"/>
            </a:spcBef>
            <a:spcAft>
              <a:spcPct val="35000"/>
            </a:spcAft>
            <a:buNone/>
          </a:pPr>
          <a:r>
            <a:rPr lang="en-US" sz="1400" b="1" kern="1200" dirty="0">
              <a:latin typeface="Calibri"/>
              <a:ea typeface="+mn-ea"/>
              <a:cs typeface="+mn-cs"/>
            </a:rPr>
            <a:t>Updated clinic passport to assign specific transition tasks to each care team member</a:t>
          </a:r>
        </a:p>
      </dsp:txBody>
      <dsp:txXfrm>
        <a:off x="8951102" y="878941"/>
        <a:ext cx="1872819" cy="10862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AF314E-0ADA-45A8-B05F-C2BE32C24C38}">
      <dsp:nvSpPr>
        <dsp:cNvPr id="0" name=""/>
        <dsp:cNvSpPr/>
      </dsp:nvSpPr>
      <dsp:spPr>
        <a:xfrm>
          <a:off x="0" y="28421"/>
          <a:ext cx="7405597" cy="575639"/>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dirty="0">
              <a:solidFill>
                <a:schemeClr val="bg1"/>
              </a:solidFill>
              <a:latin typeface="Calibri"/>
              <a:ea typeface="Calibri"/>
              <a:cs typeface="Calibri"/>
            </a:rPr>
            <a:t>Lessons Learned</a:t>
          </a:r>
        </a:p>
      </dsp:txBody>
      <dsp:txXfrm>
        <a:off x="28100" y="56521"/>
        <a:ext cx="7349397" cy="519439"/>
      </dsp:txXfrm>
    </dsp:sp>
    <dsp:sp modelId="{3CE6328A-5581-4678-A617-7A01AF01E435}">
      <dsp:nvSpPr>
        <dsp:cNvPr id="0" name=""/>
        <dsp:cNvSpPr/>
      </dsp:nvSpPr>
      <dsp:spPr>
        <a:xfrm>
          <a:off x="0" y="604060"/>
          <a:ext cx="7405597" cy="1639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128" tIns="30480" rIns="170688" bIns="30480" numCol="1" spcCol="1270" anchor="t" anchorCtr="0">
          <a:noAutofit/>
        </a:bodyPr>
        <a:lstStyle/>
        <a:p>
          <a:pPr marL="171450" lvl="1" indent="-171450" algn="l" defTabSz="844550" rtl="0">
            <a:lnSpc>
              <a:spcPct val="90000"/>
            </a:lnSpc>
            <a:spcBef>
              <a:spcPct val="0"/>
            </a:spcBef>
            <a:spcAft>
              <a:spcPct val="20000"/>
            </a:spcAft>
            <a:buChar char="•"/>
          </a:pPr>
          <a:r>
            <a:rPr lang="en-US" sz="1900" kern="1200" dirty="0">
              <a:solidFill>
                <a:srgbClr val="7030A0"/>
              </a:solidFill>
              <a:latin typeface="Calibri"/>
              <a:ea typeface="Calibri"/>
              <a:cs typeface="Calibri"/>
            </a:rPr>
            <a:t>Team-based roadmap – a key to successful transition</a:t>
          </a:r>
        </a:p>
        <a:p>
          <a:pPr marL="171450" lvl="1" indent="-171450" algn="l" defTabSz="844550">
            <a:lnSpc>
              <a:spcPct val="90000"/>
            </a:lnSpc>
            <a:spcBef>
              <a:spcPct val="0"/>
            </a:spcBef>
            <a:spcAft>
              <a:spcPct val="20000"/>
            </a:spcAft>
            <a:buChar char="•"/>
          </a:pPr>
          <a:r>
            <a:rPr lang="en-US" sz="1900" kern="1200" dirty="0">
              <a:latin typeface="Calibri"/>
              <a:ea typeface="Calibri"/>
              <a:cs typeface="Calibri"/>
            </a:rPr>
            <a:t>Success driven by</a:t>
          </a:r>
        </a:p>
        <a:p>
          <a:pPr marL="342900" lvl="2" indent="-171450" algn="l" defTabSz="844550" rtl="0">
            <a:lnSpc>
              <a:spcPct val="90000"/>
            </a:lnSpc>
            <a:spcBef>
              <a:spcPct val="0"/>
            </a:spcBef>
            <a:spcAft>
              <a:spcPct val="20000"/>
            </a:spcAft>
            <a:buChar char="•"/>
          </a:pPr>
          <a:r>
            <a:rPr lang="en-US" sz="1900" kern="1200" dirty="0">
              <a:latin typeface="Calibri"/>
              <a:ea typeface="Calibri"/>
              <a:cs typeface="Calibri"/>
            </a:rPr>
            <a:t>Leveraging EMR integration</a:t>
          </a:r>
        </a:p>
        <a:p>
          <a:pPr marL="342900" lvl="2" indent="-171450" algn="l" defTabSz="844550">
            <a:lnSpc>
              <a:spcPct val="90000"/>
            </a:lnSpc>
            <a:spcBef>
              <a:spcPct val="0"/>
            </a:spcBef>
            <a:spcAft>
              <a:spcPct val="20000"/>
            </a:spcAft>
            <a:buChar char="•"/>
          </a:pPr>
          <a:r>
            <a:rPr lang="en-US" sz="1900" kern="1200" dirty="0">
              <a:latin typeface="Calibri"/>
              <a:ea typeface="Calibri"/>
              <a:cs typeface="Calibri"/>
            </a:rPr>
            <a:t>Multidisciplinary approach</a:t>
          </a:r>
        </a:p>
        <a:p>
          <a:pPr marL="342900" lvl="2" indent="-171450" algn="l" defTabSz="844550" rtl="0">
            <a:lnSpc>
              <a:spcPct val="90000"/>
            </a:lnSpc>
            <a:spcBef>
              <a:spcPct val="0"/>
            </a:spcBef>
            <a:spcAft>
              <a:spcPct val="20000"/>
            </a:spcAft>
            <a:buChar char="•"/>
          </a:pPr>
          <a:r>
            <a:rPr lang="en-US" sz="1900" kern="1200" dirty="0">
              <a:solidFill>
                <a:srgbClr val="000000"/>
              </a:solidFill>
              <a:latin typeface="Calibri"/>
              <a:ea typeface="Calibri"/>
              <a:cs typeface="Calibri"/>
            </a:rPr>
            <a:t>Clear task distribution for team members</a:t>
          </a:r>
        </a:p>
      </dsp:txBody>
      <dsp:txXfrm>
        <a:off x="0" y="604060"/>
        <a:ext cx="7405597" cy="1639440"/>
      </dsp:txXfrm>
    </dsp:sp>
    <dsp:sp modelId="{D5DBD32E-040E-4CF5-BFFF-4758970B3AB9}">
      <dsp:nvSpPr>
        <dsp:cNvPr id="0" name=""/>
        <dsp:cNvSpPr/>
      </dsp:nvSpPr>
      <dsp:spPr>
        <a:xfrm>
          <a:off x="0" y="2243501"/>
          <a:ext cx="7405597" cy="575639"/>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bg1"/>
              </a:solidFill>
              <a:latin typeface="Calibri"/>
              <a:ea typeface="Calibri"/>
              <a:cs typeface="Calibri"/>
            </a:rPr>
            <a:t>Future directions</a:t>
          </a:r>
          <a:endParaRPr lang="en-US" sz="2400" kern="1200" dirty="0">
            <a:latin typeface="Calibri"/>
            <a:ea typeface="Calibri"/>
            <a:cs typeface="Calibri"/>
          </a:endParaRPr>
        </a:p>
      </dsp:txBody>
      <dsp:txXfrm>
        <a:off x="28100" y="2271601"/>
        <a:ext cx="7349397" cy="519439"/>
      </dsp:txXfrm>
    </dsp:sp>
    <dsp:sp modelId="{3EDA667B-DA0C-4D19-B141-96C0A751B0CA}">
      <dsp:nvSpPr>
        <dsp:cNvPr id="0" name=""/>
        <dsp:cNvSpPr/>
      </dsp:nvSpPr>
      <dsp:spPr>
        <a:xfrm>
          <a:off x="0" y="2819140"/>
          <a:ext cx="7405597" cy="993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128" tIns="30480" rIns="170688" bIns="30480" numCol="1" spcCol="1270" anchor="t" anchorCtr="0">
          <a:noAutofit/>
        </a:bodyPr>
        <a:lstStyle/>
        <a:p>
          <a:pPr marL="171450" lvl="1" indent="-171450" algn="l" defTabSz="844550" rtl="0">
            <a:lnSpc>
              <a:spcPct val="90000"/>
            </a:lnSpc>
            <a:spcBef>
              <a:spcPct val="0"/>
            </a:spcBef>
            <a:spcAft>
              <a:spcPct val="20000"/>
            </a:spcAft>
            <a:buChar char="•"/>
          </a:pPr>
          <a:r>
            <a:rPr lang="en-US" sz="1900" kern="1200" dirty="0">
              <a:latin typeface="Calibri"/>
              <a:ea typeface="Calibri"/>
              <a:cs typeface="Calibri"/>
            </a:rPr>
            <a:t>Sustain improvements </a:t>
          </a:r>
        </a:p>
        <a:p>
          <a:pPr marL="171450" lvl="1" indent="-171450" algn="l" defTabSz="844550">
            <a:lnSpc>
              <a:spcPct val="90000"/>
            </a:lnSpc>
            <a:spcBef>
              <a:spcPct val="0"/>
            </a:spcBef>
            <a:spcAft>
              <a:spcPct val="20000"/>
            </a:spcAft>
            <a:buChar char="•"/>
          </a:pPr>
          <a:r>
            <a:rPr lang="en-US" sz="1900" kern="1200" dirty="0">
              <a:latin typeface="Calibri"/>
              <a:ea typeface="Calibri"/>
              <a:cs typeface="Calibri"/>
            </a:rPr>
            <a:t>Monitor patient-level outcomes post-transition</a:t>
          </a:r>
        </a:p>
        <a:p>
          <a:pPr marL="171450" lvl="1" indent="-171450" algn="l" defTabSz="844550" rtl="0">
            <a:lnSpc>
              <a:spcPct val="90000"/>
            </a:lnSpc>
            <a:spcBef>
              <a:spcPct val="0"/>
            </a:spcBef>
            <a:spcAft>
              <a:spcPct val="20000"/>
            </a:spcAft>
            <a:buChar char="•"/>
          </a:pPr>
          <a:r>
            <a:rPr lang="en-US" sz="1900" kern="1200" dirty="0">
              <a:solidFill>
                <a:schemeClr val="tx1"/>
              </a:solidFill>
              <a:latin typeface="Calibri"/>
              <a:ea typeface="Calibri"/>
              <a:cs typeface="Calibri"/>
            </a:rPr>
            <a:t>Address barriers for those with public health insurance</a:t>
          </a:r>
        </a:p>
      </dsp:txBody>
      <dsp:txXfrm>
        <a:off x="0" y="2819140"/>
        <a:ext cx="7405597" cy="9936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3DEB76-C7BB-4EFE-9512-02F6A0DE0632}">
      <dsp:nvSpPr>
        <dsp:cNvPr id="0" name=""/>
        <dsp:cNvSpPr/>
      </dsp:nvSpPr>
      <dsp:spPr>
        <a:xfrm>
          <a:off x="3548495" y="1823319"/>
          <a:ext cx="1779120" cy="1694768"/>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rtl="0">
            <a:lnSpc>
              <a:spcPct val="90000"/>
            </a:lnSpc>
            <a:spcBef>
              <a:spcPct val="0"/>
            </a:spcBef>
            <a:spcAft>
              <a:spcPct val="35000"/>
            </a:spcAft>
            <a:buNone/>
          </a:pPr>
          <a:r>
            <a:rPr lang="en-US" sz="2600" b="1" kern="1200" dirty="0">
              <a:latin typeface="Calibri Light" panose="020F0302020204030204"/>
            </a:rPr>
            <a:t>Patients &amp; Families</a:t>
          </a:r>
          <a:endParaRPr lang="en-US" sz="2600" b="1" kern="1200" dirty="0"/>
        </a:p>
      </dsp:txBody>
      <dsp:txXfrm>
        <a:off x="3809041" y="2071512"/>
        <a:ext cx="1258028" cy="1198382"/>
      </dsp:txXfrm>
    </dsp:sp>
    <dsp:sp modelId="{227EE875-051C-4BC3-9EBC-E59775F338B9}">
      <dsp:nvSpPr>
        <dsp:cNvPr id="0" name=""/>
        <dsp:cNvSpPr/>
      </dsp:nvSpPr>
      <dsp:spPr>
        <a:xfrm rot="16200000">
          <a:off x="4194807" y="1566535"/>
          <a:ext cx="486497" cy="27070"/>
        </a:xfrm>
        <a:custGeom>
          <a:avLst/>
          <a:gdLst/>
          <a:ahLst/>
          <a:cxnLst/>
          <a:rect l="0" t="0" r="0" b="0"/>
          <a:pathLst>
            <a:path>
              <a:moveTo>
                <a:pt x="0" y="13535"/>
              </a:moveTo>
              <a:lnTo>
                <a:pt x="486497" y="13535"/>
              </a:lnTo>
            </a:path>
          </a:pathLst>
        </a:custGeom>
        <a:noFill/>
        <a:ln w="1905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425893" y="1567908"/>
        <a:ext cx="24324" cy="24324"/>
      </dsp:txXfrm>
    </dsp:sp>
    <dsp:sp modelId="{4FE33825-9D4B-4ABF-BFC8-D751FD19600D}">
      <dsp:nvSpPr>
        <dsp:cNvPr id="0" name=""/>
        <dsp:cNvSpPr/>
      </dsp:nvSpPr>
      <dsp:spPr>
        <a:xfrm>
          <a:off x="3770613" y="1938"/>
          <a:ext cx="1334884" cy="1334884"/>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en-US" sz="900" b="0" kern="1200" dirty="0">
              <a:latin typeface="Calibri"/>
              <a:ea typeface="Calibri"/>
              <a:cs typeface="Calibri"/>
            </a:rPr>
            <a:t>Certified Diabetes Care &amp; Education Specialists</a:t>
          </a:r>
        </a:p>
      </dsp:txBody>
      <dsp:txXfrm>
        <a:off x="3966102" y="197427"/>
        <a:ext cx="943906" cy="943906"/>
      </dsp:txXfrm>
    </dsp:sp>
    <dsp:sp modelId="{25EA592D-5148-4AF3-A96F-54A5F4EF6C85}">
      <dsp:nvSpPr>
        <dsp:cNvPr id="0" name=""/>
        <dsp:cNvSpPr/>
      </dsp:nvSpPr>
      <dsp:spPr>
        <a:xfrm rot="19311249">
          <a:off x="5074986" y="1975154"/>
          <a:ext cx="462885" cy="27070"/>
        </a:xfrm>
        <a:custGeom>
          <a:avLst/>
          <a:gdLst/>
          <a:ahLst/>
          <a:cxnLst/>
          <a:rect l="0" t="0" r="0" b="0"/>
          <a:pathLst>
            <a:path>
              <a:moveTo>
                <a:pt x="0" y="13535"/>
              </a:moveTo>
              <a:lnTo>
                <a:pt x="462885" y="13535"/>
              </a:lnTo>
            </a:path>
          </a:pathLst>
        </a:custGeom>
        <a:noFill/>
        <a:ln w="1905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294856" y="1977117"/>
        <a:ext cx="23144" cy="23144"/>
      </dsp:txXfrm>
    </dsp:sp>
    <dsp:sp modelId="{BA8636D5-7787-48FE-BE1D-52A9CAD8692D}">
      <dsp:nvSpPr>
        <dsp:cNvPr id="0" name=""/>
        <dsp:cNvSpPr/>
      </dsp:nvSpPr>
      <dsp:spPr>
        <a:xfrm>
          <a:off x="5345906" y="766037"/>
          <a:ext cx="1334884" cy="1334884"/>
        </a:xfrm>
        <a:prstGeom prst="ellipse">
          <a:avLst/>
        </a:prstGeom>
        <a:solidFill>
          <a:schemeClr val="accent5">
            <a:hueOff val="-2025358"/>
            <a:satOff val="-138"/>
            <a:lumOff val="327"/>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en-US" sz="900" b="0" kern="1200">
              <a:latin typeface="Calibri"/>
              <a:ea typeface="Calibri"/>
              <a:cs typeface="Calibri"/>
            </a:rPr>
            <a:t>Physicians/Advance Practice Providers</a:t>
          </a:r>
          <a:endParaRPr lang="en-US" sz="900" b="0" kern="1200" dirty="0">
            <a:latin typeface="Calibri"/>
            <a:ea typeface="Calibri"/>
            <a:cs typeface="Calibri"/>
          </a:endParaRPr>
        </a:p>
      </dsp:txBody>
      <dsp:txXfrm>
        <a:off x="5541395" y="961526"/>
        <a:ext cx="943906" cy="943906"/>
      </dsp:txXfrm>
    </dsp:sp>
    <dsp:sp modelId="{C060BD1E-F598-4BE6-8E0F-1FC462076C59}">
      <dsp:nvSpPr>
        <dsp:cNvPr id="0" name=""/>
        <dsp:cNvSpPr/>
      </dsp:nvSpPr>
      <dsp:spPr>
        <a:xfrm rot="771429">
          <a:off x="5297532" y="2904301"/>
          <a:ext cx="446560" cy="27070"/>
        </a:xfrm>
        <a:custGeom>
          <a:avLst/>
          <a:gdLst/>
          <a:ahLst/>
          <a:cxnLst/>
          <a:rect l="0" t="0" r="0" b="0"/>
          <a:pathLst>
            <a:path>
              <a:moveTo>
                <a:pt x="0" y="13535"/>
              </a:moveTo>
              <a:lnTo>
                <a:pt x="446560" y="13535"/>
              </a:lnTo>
            </a:path>
          </a:pathLst>
        </a:custGeom>
        <a:noFill/>
        <a:ln w="1905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509648" y="2906672"/>
        <a:ext cx="22328" cy="22328"/>
      </dsp:txXfrm>
    </dsp:sp>
    <dsp:sp modelId="{B04EA3E0-1A68-4FF8-9F96-A876883C71E0}">
      <dsp:nvSpPr>
        <dsp:cNvPr id="0" name=""/>
        <dsp:cNvSpPr/>
      </dsp:nvSpPr>
      <dsp:spPr>
        <a:xfrm>
          <a:off x="5721760" y="2448598"/>
          <a:ext cx="1334884" cy="1334884"/>
        </a:xfrm>
        <a:prstGeom prst="ellipse">
          <a:avLst/>
        </a:prstGeom>
        <a:solidFill>
          <a:schemeClr val="accent5">
            <a:hueOff val="-4050717"/>
            <a:satOff val="-275"/>
            <a:lumOff val="654"/>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en-US" sz="900" b="0" kern="1200">
              <a:latin typeface="Calibri"/>
              <a:ea typeface="Calibri"/>
              <a:cs typeface="Calibri"/>
            </a:rPr>
            <a:t>Medical Assistants</a:t>
          </a:r>
          <a:endParaRPr lang="en-US" sz="900" b="0" kern="1200" dirty="0">
            <a:latin typeface="Calibri"/>
            <a:ea typeface="Calibri"/>
            <a:cs typeface="Calibri"/>
          </a:endParaRPr>
        </a:p>
      </dsp:txBody>
      <dsp:txXfrm>
        <a:off x="5917249" y="2644087"/>
        <a:ext cx="943906" cy="943906"/>
      </dsp:txXfrm>
    </dsp:sp>
    <dsp:sp modelId="{E6D52495-5B04-4BF0-BA7F-2839F4C18127}">
      <dsp:nvSpPr>
        <dsp:cNvPr id="0" name=""/>
        <dsp:cNvSpPr/>
      </dsp:nvSpPr>
      <dsp:spPr>
        <a:xfrm rot="3857143">
          <a:off x="4673379" y="3643166"/>
          <a:ext cx="479015" cy="27070"/>
        </a:xfrm>
        <a:custGeom>
          <a:avLst/>
          <a:gdLst/>
          <a:ahLst/>
          <a:cxnLst/>
          <a:rect l="0" t="0" r="0" b="0"/>
          <a:pathLst>
            <a:path>
              <a:moveTo>
                <a:pt x="0" y="13535"/>
              </a:moveTo>
              <a:lnTo>
                <a:pt x="479015" y="13535"/>
              </a:lnTo>
            </a:path>
          </a:pathLst>
        </a:custGeom>
        <a:noFill/>
        <a:ln w="1905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900911" y="3644725"/>
        <a:ext cx="23950" cy="23950"/>
      </dsp:txXfrm>
    </dsp:sp>
    <dsp:sp modelId="{3C4249EC-3D2F-4874-80BF-507E26A9A242}">
      <dsp:nvSpPr>
        <dsp:cNvPr id="0" name=""/>
        <dsp:cNvSpPr/>
      </dsp:nvSpPr>
      <dsp:spPr>
        <a:xfrm>
          <a:off x="4638955" y="3806392"/>
          <a:ext cx="1334884" cy="1334884"/>
        </a:xfrm>
        <a:prstGeom prst="ellipse">
          <a:avLst/>
        </a:prstGeom>
        <a:solidFill>
          <a:schemeClr val="accent5">
            <a:hueOff val="-6076075"/>
            <a:satOff val="-413"/>
            <a:lumOff val="981"/>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0" kern="1200">
              <a:latin typeface="Calibri"/>
              <a:ea typeface="Calibri"/>
              <a:cs typeface="Calibri"/>
            </a:rPr>
            <a:t>Ambulatory Service Representatives</a:t>
          </a:r>
          <a:endParaRPr lang="en-US" sz="900" b="0" kern="1200" dirty="0">
            <a:latin typeface="Calibri"/>
            <a:ea typeface="Calibri"/>
            <a:cs typeface="Calibri"/>
          </a:endParaRPr>
        </a:p>
      </dsp:txBody>
      <dsp:txXfrm>
        <a:off x="4834444" y="4001881"/>
        <a:ext cx="943906" cy="943906"/>
      </dsp:txXfrm>
    </dsp:sp>
    <dsp:sp modelId="{C480DA52-DB2C-42B7-B198-A6C5E998C7F8}">
      <dsp:nvSpPr>
        <dsp:cNvPr id="0" name=""/>
        <dsp:cNvSpPr/>
      </dsp:nvSpPr>
      <dsp:spPr>
        <a:xfrm rot="6942857">
          <a:off x="3723716" y="3643166"/>
          <a:ext cx="479015" cy="27070"/>
        </a:xfrm>
        <a:custGeom>
          <a:avLst/>
          <a:gdLst/>
          <a:ahLst/>
          <a:cxnLst/>
          <a:rect l="0" t="0" r="0" b="0"/>
          <a:pathLst>
            <a:path>
              <a:moveTo>
                <a:pt x="0" y="13535"/>
              </a:moveTo>
              <a:lnTo>
                <a:pt x="479015" y="13535"/>
              </a:lnTo>
            </a:path>
          </a:pathLst>
        </a:custGeom>
        <a:noFill/>
        <a:ln w="1905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951249" y="3644725"/>
        <a:ext cx="23950" cy="23950"/>
      </dsp:txXfrm>
    </dsp:sp>
    <dsp:sp modelId="{A80961D2-A44E-4E45-935C-372033D3D5CB}">
      <dsp:nvSpPr>
        <dsp:cNvPr id="0" name=""/>
        <dsp:cNvSpPr/>
      </dsp:nvSpPr>
      <dsp:spPr>
        <a:xfrm>
          <a:off x="2902272" y="3806392"/>
          <a:ext cx="1334884" cy="1334884"/>
        </a:xfrm>
        <a:prstGeom prst="ellipse">
          <a:avLst/>
        </a:prstGeom>
        <a:solidFill>
          <a:schemeClr val="accent5">
            <a:hueOff val="-8101434"/>
            <a:satOff val="-551"/>
            <a:lumOff val="1307"/>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en-US" sz="900" b="0" kern="1200">
              <a:latin typeface="Calibri"/>
              <a:ea typeface="Calibri"/>
              <a:cs typeface="Calibri"/>
            </a:rPr>
            <a:t>Social Workers</a:t>
          </a:r>
          <a:endParaRPr lang="en-US" sz="900" b="0" kern="1200" dirty="0">
            <a:latin typeface="Calibri"/>
            <a:ea typeface="Calibri"/>
            <a:cs typeface="Calibri"/>
          </a:endParaRPr>
        </a:p>
      </dsp:txBody>
      <dsp:txXfrm>
        <a:off x="3097761" y="4001881"/>
        <a:ext cx="943906" cy="943906"/>
      </dsp:txXfrm>
    </dsp:sp>
    <dsp:sp modelId="{A544F1A8-03B6-4683-919D-7249B44F3F05}">
      <dsp:nvSpPr>
        <dsp:cNvPr id="0" name=""/>
        <dsp:cNvSpPr/>
      </dsp:nvSpPr>
      <dsp:spPr>
        <a:xfrm rot="10028571">
          <a:off x="3132019" y="2904301"/>
          <a:ext cx="446560" cy="27070"/>
        </a:xfrm>
        <a:custGeom>
          <a:avLst/>
          <a:gdLst/>
          <a:ahLst/>
          <a:cxnLst/>
          <a:rect l="0" t="0" r="0" b="0"/>
          <a:pathLst>
            <a:path>
              <a:moveTo>
                <a:pt x="0" y="13535"/>
              </a:moveTo>
              <a:lnTo>
                <a:pt x="446560" y="13535"/>
              </a:lnTo>
            </a:path>
          </a:pathLst>
        </a:custGeom>
        <a:noFill/>
        <a:ln w="1905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344135" y="2906672"/>
        <a:ext cx="22328" cy="22328"/>
      </dsp:txXfrm>
    </dsp:sp>
    <dsp:sp modelId="{201B08F8-83AF-4E7F-8F13-E5D4D558D334}">
      <dsp:nvSpPr>
        <dsp:cNvPr id="0" name=""/>
        <dsp:cNvSpPr/>
      </dsp:nvSpPr>
      <dsp:spPr>
        <a:xfrm>
          <a:off x="1819467" y="2448598"/>
          <a:ext cx="1334884" cy="1334884"/>
        </a:xfrm>
        <a:prstGeom prst="ellipse">
          <a:avLst/>
        </a:prstGeom>
        <a:solidFill>
          <a:schemeClr val="accent5">
            <a:hueOff val="-10126791"/>
            <a:satOff val="-688"/>
            <a:lumOff val="1634"/>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0" kern="1200">
              <a:latin typeface="Calibri"/>
              <a:ea typeface="Calibri"/>
              <a:cs typeface="Calibri"/>
            </a:rPr>
            <a:t>Psychologists</a:t>
          </a:r>
          <a:endParaRPr lang="en-US" sz="900" b="0" kern="1200" dirty="0">
            <a:latin typeface="Calibri"/>
            <a:ea typeface="Calibri"/>
            <a:cs typeface="Calibri"/>
          </a:endParaRPr>
        </a:p>
      </dsp:txBody>
      <dsp:txXfrm>
        <a:off x="2014956" y="2644087"/>
        <a:ext cx="943906" cy="943906"/>
      </dsp:txXfrm>
    </dsp:sp>
    <dsp:sp modelId="{4EB828DE-ABF4-473A-8331-74E15BF1C03F}">
      <dsp:nvSpPr>
        <dsp:cNvPr id="0" name=""/>
        <dsp:cNvSpPr/>
      </dsp:nvSpPr>
      <dsp:spPr>
        <a:xfrm rot="13114286">
          <a:off x="3344847" y="1969363"/>
          <a:ext cx="461453" cy="27070"/>
        </a:xfrm>
        <a:custGeom>
          <a:avLst/>
          <a:gdLst/>
          <a:ahLst/>
          <a:cxnLst/>
          <a:rect l="0" t="0" r="0" b="0"/>
          <a:pathLst>
            <a:path>
              <a:moveTo>
                <a:pt x="0" y="13535"/>
              </a:moveTo>
              <a:lnTo>
                <a:pt x="461453" y="13535"/>
              </a:lnTo>
            </a:path>
          </a:pathLst>
        </a:custGeom>
        <a:noFill/>
        <a:ln w="1905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564038" y="1971361"/>
        <a:ext cx="23072" cy="23072"/>
      </dsp:txXfrm>
    </dsp:sp>
    <dsp:sp modelId="{D17EA496-03D8-48D4-BD47-6CECD6C8CE10}">
      <dsp:nvSpPr>
        <dsp:cNvPr id="0" name=""/>
        <dsp:cNvSpPr/>
      </dsp:nvSpPr>
      <dsp:spPr>
        <a:xfrm>
          <a:off x="2205915" y="755457"/>
          <a:ext cx="1334884" cy="1334884"/>
        </a:xfrm>
        <a:prstGeom prst="ellipse">
          <a:avLst/>
        </a:prstGeom>
        <a:solidFill>
          <a:schemeClr val="accent5">
            <a:hueOff val="-12152150"/>
            <a:satOff val="-826"/>
            <a:lumOff val="1961"/>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en-US" sz="900" b="0" kern="1200" dirty="0">
              <a:latin typeface="Calibri"/>
              <a:ea typeface="Calibri"/>
              <a:cs typeface="Calibri"/>
            </a:rPr>
            <a:t>Ambulatory Leaders</a:t>
          </a:r>
        </a:p>
      </dsp:txBody>
      <dsp:txXfrm>
        <a:off x="2401404" y="950946"/>
        <a:ext cx="943906" cy="943906"/>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16/7/layout/AccentHomeChevronProcess">
  <dgm:title val="Accent Home Chevron Process"/>
  <dgm:desc val="Use to show a progression; a timeline; sequential steps in a task, process, or workflow; or to emphasize movement or direction. Level 1 text appears inside an chevron shape, except the first shape which comes in a home shape, while Level 2 text appears above the invisible rectangle shapes."/>
  <dgm:catLst>
    <dgm:cat type="process" pri="500"/>
    <dgm:cat type="timeline"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contrsBasedOnsibTransCount">
      <dgm:if name="oneSibTrans" axis="ch" ptType="sibTrans" func="cnt" op="equ" val="1">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2"/>
          <dgm:constr type="w" for="ch" ptType="sibTrans" op="equ"/>
        </dgm:constrLst>
      </dgm:if>
      <dgm:else name="moreThanOneSibTrans">
        <dgm:choose name="contrsForMoreThanOneSibTrans">
          <dgm:if name="twoSibTrans" axis="ch" ptType="sibTrans" func="cnt" op="equ" val="2">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3"/>
              <dgm:constr type="w" for="ch" ptType="sibTrans" op="equ"/>
            </dgm:constrLst>
          </dgm:if>
          <dgm:else name="moreThanTwoSibTrans">
            <dgm:choose name="contrsForMoreThanTwoSibTrans">
              <dgm:if name="threeSibTrans" axis="ch" ptType="sibTrans" func="cnt" op="equ" val="3">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4"/>
                  <dgm:constr type="w" for="ch" ptType="sibTrans" op="equ"/>
                </dgm:constrLst>
              </dgm:if>
              <dgm:else name="moreThanThreeSibTrans">
                <dgm:choose name="contrsForMoreThanThreeSibTrans">
                  <dgm:if name="fourToSixSibTrans" axis="ch" ptType="sibTrans" func="cnt" op="lte" val="6">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5"/>
                      <dgm:constr type="w" for="ch" ptType="sibTrans" op="equ"/>
                    </dgm:constrLst>
                  </dgm:if>
                  <dgm:else name="moreThanSixSibTrans">
                    <dgm:choose name="contrsForMoreThanSixSibTrans">
                      <dgm:if name="sevenToEightSibTrans" axis="ch" ptType="sibTrans" func="cnt" op="lte" val="8">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7"/>
                          <dgm:constr type="w" for="ch" ptType="sibTrans" op="equ"/>
                        </dgm:constrLst>
                      </dgm:if>
                      <dgm:else name="moreThanEightSibTrans">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9"/>
                          <dgm:constr type="w" for="ch" ptType="sibTrans" op="equ"/>
                        </dgm:constrLst>
                      </dgm:else>
                    </dgm:choose>
                  </dgm:else>
                </dgm:choose>
              </dgm:else>
            </dgm:choose>
          </dgm:else>
        </dgm:choose>
      </dgm:else>
    </dgm:choose>
    <dgm:ruleLst/>
    <dgm:forEach name="Name6" axis="ch" ptType="node">
      <dgm:layoutNode name="composite">
        <dgm:alg type="composite"/>
        <dgm:shape xmlns:r="http://schemas.openxmlformats.org/officeDocument/2006/relationships" r:blip="">
          <dgm:adjLst/>
        </dgm:shape>
        <dgm:presOf/>
        <dgm:choose name="LayoutLTRorRTL">
          <dgm:if name="LayoutLTR" func="var" arg="dir" op="equ" val="norm">
            <dgm:constrLst>
              <dgm:constr type="w" for="ch" forName="L" refType="w" fact="0.08"/>
              <dgm:constr type="h" for="ch" forName="L" refType="h" fact="0.75"/>
              <dgm:constr type="l" for="ch" forName="L"/>
              <dgm:constr type="l" for="ch" forName="parTx"/>
              <dgm:constr type="w" for="ch" forName="parTx" refType="w"/>
              <dgm:constr type="h" for="ch" forName="parTx" refType="h" fact="0.25"/>
              <dgm:constr type="t" for="ch" forName="parTx" refType="b" refFor="ch" refForName="L"/>
              <dgm:constr type="t" for="ch" forName="desTx" refType="w" refFor="ch" refForName="L" fact="0.6"/>
              <dgm:constr type="b" for="ch" forName="desTx" refType="t" refFor="ch" refForName="EmptyPlaceHolder"/>
              <dgm:constr type="l" for="ch" forName="desTx" refType="r" refFor="ch" refForName="L"/>
              <dgm:constr type="w" for="ch" forName="desTx" refType="w" fact="0.812"/>
              <dgm:constr type="w" for="ch" forName="EmptyPlaceHolder" refType="w" fact="0.82"/>
              <dgm:constr type="l" for="ch" forName="EmptyPlaceHolder" refType="r" refFor="ch" refForName="L"/>
              <dgm:constr type="b" for="ch" forName="EmptyPlaceHolder" refType="b" refFor="ch" refForName="L"/>
              <dgm:constr type="h" for="ch" forName="EmptyPlaceHolder" refType="t" refFor="ch" refForName="desTx"/>
            </dgm:constrLst>
          </dgm:if>
          <dgm:else name="LayoutRTL">
            <dgm:constrLst>
              <dgm:constr type="w" for="ch" forName="L" refType="w" fact="0.08"/>
              <dgm:constr type="h" for="ch" forName="L" refType="h" fact="0.75"/>
              <dgm:constr type="r" for="ch" forName="L" refType="w"/>
              <dgm:constr type="r" for="ch" forName="parTx" refType="w"/>
              <dgm:constr type="w" for="ch" forName="parTx" refType="w"/>
              <dgm:constr type="h" for="ch" forName="parTx" refType="h" fact="0.25"/>
              <dgm:constr type="t" for="ch" forName="parTx" refType="b" refFor="ch" refForName="L"/>
              <dgm:constr type="t" for="ch" forName="desTx" refType="w" refFor="ch" refForName="L" fact="0.6"/>
              <dgm:constr type="b" for="ch" forName="desTx" refType="t" refFor="ch" refForName="EmptyPlaceHolder"/>
              <dgm:constr type="r" for="ch" forName="desTx" refType="l" refFor="ch" refForName="L"/>
              <dgm:constr type="w" for="ch" forName="desTx" refType="w" fact="0.812"/>
              <dgm:constr type="w" for="ch" forName="EmptyPlaceHolder" refType="w" fact="0.82"/>
              <dgm:constr type="h" for="ch" forName="EmptyPlaceHolder" refType="w" refFor="ch" refForName="L" fact="0.6"/>
              <dgm:constr type="b" for="ch" forName="EmptyPlaceHolder" refType="b" refFor="ch" refForName="L"/>
            </dgm:constrLst>
          </dgm:else>
        </dgm:choose>
        <dgm:layoutNode name="L" styleLbl="solidFgAcc1" moveWith="parTx">
          <dgm:varLst>
            <dgm:chMax val="0"/>
            <dgm:chPref val="0"/>
          </dgm:varLst>
          <dgm:alg type="sp"/>
          <dgm:choose name="Name310">
            <dgm:if name="Name311" func="var" arg="dir" op="equ" val="norm">
              <dgm:shape xmlns:r="http://schemas.openxmlformats.org/officeDocument/2006/relationships" rot="90" type="corner" r:blip="">
                <dgm:adjLst>
                  <dgm:adj idx="1" val="0.01"/>
                  <dgm:adj idx="2" val="0.01"/>
                </dgm:adjLst>
              </dgm:shape>
            </dgm:if>
            <dgm:else name="Name312">
              <dgm:shape xmlns:r="http://schemas.openxmlformats.org/officeDocument/2006/relationships" rot="180" type="corner" r:blip="">
                <dgm:adjLst>
                  <dgm:adj idx="1" val="0.01"/>
                  <dgm:adj idx="2" val="0.01"/>
                </dgm:adjLst>
              </dgm:shape>
            </dgm:else>
          </dgm:choose>
          <dgm:presOf/>
          <dgm:constrLst/>
          <dgm:ruleLst/>
        </dgm:layoutNode>
        <dgm:layoutNode name="parTx" styleLbl="alignNode1">
          <dgm:varLst>
            <dgm:chMax val="0"/>
            <dgm:chPref val="0"/>
            <dgm:bulletEnabled val="1"/>
          </dgm:varLst>
          <dgm:alg type="tx">
            <dgm:param type="txAnchorVert" val="mid"/>
            <dgm:param type="parTxLTRAlign" val="ctr"/>
            <dgm:param type="parTxRTLAlign" val="ctr"/>
          </dgm:alg>
          <dgm:choose name="MakeFirstNodeHomePlate">
            <dgm:if name="IfFirstNode" axis="self" ptType="node" func="pos" op="equ" val="1">
              <dgm:choose name="Name110">
                <dgm:if name="Name111" func="var" arg="dir" op="equ" val="norm">
                  <dgm:shape xmlns:r="http://schemas.openxmlformats.org/officeDocument/2006/relationships" type="homePlate" r:blip="">
                    <dgm:adjLst>
                      <dgm:adj idx="1" val="0.25"/>
                    </dgm:adjLst>
                  </dgm:shape>
                </dgm:if>
                <dgm:else name="Name112">
                  <dgm:shape xmlns:r="http://schemas.openxmlformats.org/officeDocument/2006/relationships" rot="180" type="homePlate" r:blip="">
                    <dgm:adjLst>
                      <dgm:adj idx="1" val="0.25"/>
                    </dgm:adjLst>
                  </dgm:shape>
                </dgm:else>
              </dgm:choose>
            </dgm:if>
            <dgm:else name="MakeRestOfNodesChevrons">
              <dgm:choose name="Name10">
                <dgm:if name="Name11" func="var" arg="dir" op="equ" val="norm">
                  <dgm:shape xmlns:r="http://schemas.openxmlformats.org/officeDocument/2006/relationships" type="chevron" r:blip="">
                    <dgm:adjLst>
                      <dgm:adj idx="1" val="0.25"/>
                    </dgm:adjLst>
                  </dgm:shape>
                </dgm:if>
                <dgm:else name="Name12">
                  <dgm:shape xmlns:r="http://schemas.openxmlformats.org/officeDocument/2006/relationships" rot="180" type="chevron" r:blip="">
                    <dgm:adjLst>
                      <dgm:adj idx="1" val="0.25"/>
                    </dgm:adjLst>
                  </dgm:shape>
                </dgm:else>
              </dgm:choose>
            </dgm:else>
          </dgm:choose>
          <dgm:presOf axis="self" ptType="node"/>
          <dgm:constrLst>
            <dgm:constr type="tMarg" refType="primFontSz"/>
            <dgm:constr type="bMarg" refType="primFontSz"/>
            <dgm:constr type="lMarg" refType="primFontSz" fact="0.5"/>
            <dgm:constr type="rMarg" refType="primFontSz" fact="0.5"/>
          </dgm:constrLst>
          <dgm:ruleLst>
            <dgm:rule type="primFontSz" val="13" fact="NaN" max="NaN"/>
          </dgm:ruleLst>
        </dgm:layoutNode>
        <dgm:layoutNode name="desTx" styleLbl="revTx" moveWith="parTx">
          <dgm:varLst>
            <dgm:chMax val="0"/>
            <dgm:chPref val="0"/>
            <dgm:bulletEnabled val="1"/>
          </dgm:varLst>
          <dgm:choose name="Name210">
            <dgm:if name="Name211" func="var" arg="dir" op="equ" val="norm">
              <dgm:alg type="tx">
                <dgm:param type="txAnchorVert" val="t"/>
                <dgm:param type="parTxLTRAlign" val="l"/>
                <dgm:param type="shpTxLTRAlignCh" val="l"/>
                <dgm:param type="parTxRTLAlign" val="l"/>
                <dgm:param type="shpTxRTLAlignCh" val="l"/>
              </dgm:alg>
            </dgm:if>
            <dgm:else name="Name212">
              <dgm:alg type="tx">
                <dgm:param type="txAnchorVert" val="t"/>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 ptType="node"/>
          <dgm:constrLst>
            <dgm:constr type="tMarg"/>
            <dgm:constr type="bMarg"/>
            <dgm:constr type="lMarg"/>
            <dgm:constr type="rMarg"/>
          </dgm:constrLst>
          <dgm:ruleLst>
            <dgm:rule type="primFontSz" val="11" fact="NaN" max="NaN"/>
            <dgm:rule type="secFontSz" val="9" fact="NaN" max="NaN"/>
          </dgm:ruleLst>
        </dgm:layoutNode>
        <dgm:layoutNode name="EmptyPlaceHolder">
          <dgm:alg type="sp"/>
          <dgm:shape xmlns:r="http://schemas.openxmlformats.org/officeDocument/2006/relationships" r:blip="">
            <dgm:adjLst/>
          </dgm:shape>
          <dgm:presOf/>
          <dgm:constr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AccentHomeChevronProcess">
  <dgm:title val="Accent Home Chevron Process"/>
  <dgm:desc val="Use to show a progression; a timeline; sequential steps in a task, process, or workflow; or to emphasize movement or direction. Level 1 text appears inside an chevron shape, except the first shape which comes in a home shape, while Level 2 text appears above the invisible rectangle shapes."/>
  <dgm:catLst>
    <dgm:cat type="process" pri="500"/>
    <dgm:cat type="timeline"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contrsBasedOnsibTransCount">
      <dgm:if name="oneSibTrans" axis="ch" ptType="sibTrans" func="cnt" op="equ" val="1">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2"/>
          <dgm:constr type="w" for="ch" ptType="sibTrans" op="equ"/>
        </dgm:constrLst>
      </dgm:if>
      <dgm:else name="moreThanOneSibTrans">
        <dgm:choose name="contrsForMoreThanOneSibTrans">
          <dgm:if name="twoSibTrans" axis="ch" ptType="sibTrans" func="cnt" op="equ" val="2">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3"/>
              <dgm:constr type="w" for="ch" ptType="sibTrans" op="equ"/>
            </dgm:constrLst>
          </dgm:if>
          <dgm:else name="moreThanTwoSibTrans">
            <dgm:choose name="contrsForMoreThanTwoSibTrans">
              <dgm:if name="threeSibTrans" axis="ch" ptType="sibTrans" func="cnt" op="equ" val="3">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4"/>
                  <dgm:constr type="w" for="ch" ptType="sibTrans" op="equ"/>
                </dgm:constrLst>
              </dgm:if>
              <dgm:else name="moreThanThreeSibTrans">
                <dgm:choose name="contrsForMoreThanThreeSibTrans">
                  <dgm:if name="fourToSixSibTrans" axis="ch" ptType="sibTrans" func="cnt" op="lte" val="6">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5"/>
                      <dgm:constr type="w" for="ch" ptType="sibTrans" op="equ"/>
                    </dgm:constrLst>
                  </dgm:if>
                  <dgm:else name="moreThanSixSibTrans">
                    <dgm:choose name="contrsForMoreThanSixSibTrans">
                      <dgm:if name="sevenToEightSibTrans" axis="ch" ptType="sibTrans" func="cnt" op="lte" val="8">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7"/>
                          <dgm:constr type="w" for="ch" ptType="sibTrans" op="equ"/>
                        </dgm:constrLst>
                      </dgm:if>
                      <dgm:else name="moreThanEightSibTrans">
                        <dgm:constrLst>
                          <dgm:constr type="h" for="ch" forName="composite" refType="h" fact="0.6"/>
                          <dgm:constr type="w" for="ch" forName="composite" refType="w"/>
                          <dgm:constr type="primFontSz" for="des" forName="parTx" val="20"/>
                          <dgm:constr type="primFontSz" for="des" forName="desTx" refType="primFontSz" refFor="des" refForName="parTx" op="lte"/>
                          <dgm:constr type="primFontSz" for="des" forName="parTx" op="equ"/>
                          <dgm:constr type="primFontSz" for="des" forName="desTx" op="equ"/>
                          <dgm:constr type="w" for="ch" forName="space" refType="w" refFor="ch" refForName="composite" fact="-0.09"/>
                          <dgm:constr type="w" for="ch" ptType="sibTrans" op="equ"/>
                        </dgm:constrLst>
                      </dgm:else>
                    </dgm:choose>
                  </dgm:else>
                </dgm:choose>
              </dgm:else>
            </dgm:choose>
          </dgm:else>
        </dgm:choose>
      </dgm:else>
    </dgm:choose>
    <dgm:ruleLst/>
    <dgm:forEach name="Name6" axis="ch" ptType="node">
      <dgm:layoutNode name="composite">
        <dgm:alg type="composite"/>
        <dgm:shape xmlns:r="http://schemas.openxmlformats.org/officeDocument/2006/relationships" r:blip="">
          <dgm:adjLst/>
        </dgm:shape>
        <dgm:presOf/>
        <dgm:choose name="LayoutLTRorRTL">
          <dgm:if name="LayoutLTR" func="var" arg="dir" op="equ" val="norm">
            <dgm:constrLst>
              <dgm:constr type="w" for="ch" forName="L" refType="w" fact="0.08"/>
              <dgm:constr type="h" for="ch" forName="L" refType="h" fact="0.75"/>
              <dgm:constr type="l" for="ch" forName="L"/>
              <dgm:constr type="l" for="ch" forName="parTx"/>
              <dgm:constr type="w" for="ch" forName="parTx" refType="w"/>
              <dgm:constr type="h" for="ch" forName="parTx" refType="h" fact="0.25"/>
              <dgm:constr type="t" for="ch" forName="parTx" refType="b" refFor="ch" refForName="L"/>
              <dgm:constr type="t" for="ch" forName="desTx" refType="w" refFor="ch" refForName="L" fact="0.6"/>
              <dgm:constr type="b" for="ch" forName="desTx" refType="t" refFor="ch" refForName="EmptyPlaceHolder"/>
              <dgm:constr type="l" for="ch" forName="desTx" refType="r" refFor="ch" refForName="L"/>
              <dgm:constr type="w" for="ch" forName="desTx" refType="w" fact="0.812"/>
              <dgm:constr type="w" for="ch" forName="EmptyPlaceHolder" refType="w" fact="0.82"/>
              <dgm:constr type="l" for="ch" forName="EmptyPlaceHolder" refType="r" refFor="ch" refForName="L"/>
              <dgm:constr type="b" for="ch" forName="EmptyPlaceHolder" refType="b" refFor="ch" refForName="L"/>
              <dgm:constr type="h" for="ch" forName="EmptyPlaceHolder" refType="t" refFor="ch" refForName="desTx"/>
            </dgm:constrLst>
          </dgm:if>
          <dgm:else name="LayoutRTL">
            <dgm:constrLst>
              <dgm:constr type="w" for="ch" forName="L" refType="w" fact="0.08"/>
              <dgm:constr type="h" for="ch" forName="L" refType="h" fact="0.75"/>
              <dgm:constr type="r" for="ch" forName="L" refType="w"/>
              <dgm:constr type="r" for="ch" forName="parTx" refType="w"/>
              <dgm:constr type="w" for="ch" forName="parTx" refType="w"/>
              <dgm:constr type="h" for="ch" forName="parTx" refType="h" fact="0.25"/>
              <dgm:constr type="t" for="ch" forName="parTx" refType="b" refFor="ch" refForName="L"/>
              <dgm:constr type="t" for="ch" forName="desTx" refType="w" refFor="ch" refForName="L" fact="0.6"/>
              <dgm:constr type="b" for="ch" forName="desTx" refType="t" refFor="ch" refForName="EmptyPlaceHolder"/>
              <dgm:constr type="r" for="ch" forName="desTx" refType="l" refFor="ch" refForName="L"/>
              <dgm:constr type="w" for="ch" forName="desTx" refType="w" fact="0.812"/>
              <dgm:constr type="w" for="ch" forName="EmptyPlaceHolder" refType="w" fact="0.82"/>
              <dgm:constr type="h" for="ch" forName="EmptyPlaceHolder" refType="w" refFor="ch" refForName="L" fact="0.6"/>
              <dgm:constr type="b" for="ch" forName="EmptyPlaceHolder" refType="b" refFor="ch" refForName="L"/>
            </dgm:constrLst>
          </dgm:else>
        </dgm:choose>
        <dgm:layoutNode name="L" styleLbl="solidFgAcc1" moveWith="parTx">
          <dgm:varLst>
            <dgm:chMax val="0"/>
            <dgm:chPref val="0"/>
          </dgm:varLst>
          <dgm:alg type="sp"/>
          <dgm:choose name="Name310">
            <dgm:if name="Name311" func="var" arg="dir" op="equ" val="norm">
              <dgm:shape xmlns:r="http://schemas.openxmlformats.org/officeDocument/2006/relationships" rot="90" type="corner" r:blip="">
                <dgm:adjLst>
                  <dgm:adj idx="1" val="0.01"/>
                  <dgm:adj idx="2" val="0.01"/>
                </dgm:adjLst>
              </dgm:shape>
            </dgm:if>
            <dgm:else name="Name312">
              <dgm:shape xmlns:r="http://schemas.openxmlformats.org/officeDocument/2006/relationships" rot="180" type="corner" r:blip="">
                <dgm:adjLst>
                  <dgm:adj idx="1" val="0.01"/>
                  <dgm:adj idx="2" val="0.01"/>
                </dgm:adjLst>
              </dgm:shape>
            </dgm:else>
          </dgm:choose>
          <dgm:presOf/>
          <dgm:constrLst/>
          <dgm:ruleLst/>
        </dgm:layoutNode>
        <dgm:layoutNode name="parTx" styleLbl="alignNode1">
          <dgm:varLst>
            <dgm:chMax val="0"/>
            <dgm:chPref val="0"/>
            <dgm:bulletEnabled val="1"/>
          </dgm:varLst>
          <dgm:alg type="tx">
            <dgm:param type="txAnchorVert" val="mid"/>
            <dgm:param type="parTxLTRAlign" val="ctr"/>
            <dgm:param type="parTxRTLAlign" val="ctr"/>
          </dgm:alg>
          <dgm:choose name="MakeFirstNodeHomePlate">
            <dgm:if name="IfFirstNode" axis="self" ptType="node" func="pos" op="equ" val="1">
              <dgm:choose name="Name110">
                <dgm:if name="Name111" func="var" arg="dir" op="equ" val="norm">
                  <dgm:shape xmlns:r="http://schemas.openxmlformats.org/officeDocument/2006/relationships" type="homePlate" r:blip="">
                    <dgm:adjLst>
                      <dgm:adj idx="1" val="0.25"/>
                    </dgm:adjLst>
                  </dgm:shape>
                </dgm:if>
                <dgm:else name="Name112">
                  <dgm:shape xmlns:r="http://schemas.openxmlformats.org/officeDocument/2006/relationships" rot="180" type="homePlate" r:blip="">
                    <dgm:adjLst>
                      <dgm:adj idx="1" val="0.25"/>
                    </dgm:adjLst>
                  </dgm:shape>
                </dgm:else>
              </dgm:choose>
            </dgm:if>
            <dgm:else name="MakeRestOfNodesChevrons">
              <dgm:choose name="Name10">
                <dgm:if name="Name11" func="var" arg="dir" op="equ" val="norm">
                  <dgm:shape xmlns:r="http://schemas.openxmlformats.org/officeDocument/2006/relationships" type="chevron" r:blip="">
                    <dgm:adjLst>
                      <dgm:adj idx="1" val="0.25"/>
                    </dgm:adjLst>
                  </dgm:shape>
                </dgm:if>
                <dgm:else name="Name12">
                  <dgm:shape xmlns:r="http://schemas.openxmlformats.org/officeDocument/2006/relationships" rot="180" type="chevron" r:blip="">
                    <dgm:adjLst>
                      <dgm:adj idx="1" val="0.25"/>
                    </dgm:adjLst>
                  </dgm:shape>
                </dgm:else>
              </dgm:choose>
            </dgm:else>
          </dgm:choose>
          <dgm:presOf axis="self" ptType="node"/>
          <dgm:constrLst>
            <dgm:constr type="tMarg" refType="primFontSz"/>
            <dgm:constr type="bMarg" refType="primFontSz"/>
            <dgm:constr type="lMarg" refType="primFontSz" fact="0.5"/>
            <dgm:constr type="rMarg" refType="primFontSz" fact="0.5"/>
          </dgm:constrLst>
          <dgm:ruleLst>
            <dgm:rule type="primFontSz" val="13" fact="NaN" max="NaN"/>
          </dgm:ruleLst>
        </dgm:layoutNode>
        <dgm:layoutNode name="desTx" styleLbl="revTx" moveWith="parTx">
          <dgm:varLst>
            <dgm:chMax val="0"/>
            <dgm:chPref val="0"/>
            <dgm:bulletEnabled val="1"/>
          </dgm:varLst>
          <dgm:choose name="Name210">
            <dgm:if name="Name211" func="var" arg="dir" op="equ" val="norm">
              <dgm:alg type="tx">
                <dgm:param type="txAnchorVert" val="t"/>
                <dgm:param type="parTxLTRAlign" val="l"/>
                <dgm:param type="shpTxLTRAlignCh" val="l"/>
                <dgm:param type="parTxRTLAlign" val="l"/>
                <dgm:param type="shpTxRTLAlignCh" val="l"/>
              </dgm:alg>
            </dgm:if>
            <dgm:else name="Name212">
              <dgm:alg type="tx">
                <dgm:param type="txAnchorVert" val="t"/>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 ptType="node"/>
          <dgm:constrLst>
            <dgm:constr type="tMarg"/>
            <dgm:constr type="bMarg"/>
            <dgm:constr type="lMarg"/>
            <dgm:constr type="rMarg"/>
          </dgm:constrLst>
          <dgm:ruleLst>
            <dgm:rule type="primFontSz" val="11" fact="NaN" max="NaN"/>
            <dgm:rule type="secFontSz" val="9" fact="NaN" max="NaN"/>
          </dgm:ruleLst>
        </dgm:layoutNode>
        <dgm:layoutNode name="EmptyPlaceHolder">
          <dgm:alg type="sp"/>
          <dgm:shape xmlns:r="http://schemas.openxmlformats.org/officeDocument/2006/relationships" r:blip="">
            <dgm:adjLst/>
          </dgm:shape>
          <dgm:presOf/>
          <dgm:constr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1455</cdr:x>
      <cdr:y>0.34232</cdr:y>
    </cdr:from>
    <cdr:to>
      <cdr:x>0.32072</cdr:x>
      <cdr:y>0.38291</cdr:y>
    </cdr:to>
    <cdr:sp macro="" textlink="">
      <cdr:nvSpPr>
        <cdr:cNvPr id="26" name="TextBox 1">
          <a:extLst xmlns:a="http://schemas.openxmlformats.org/drawingml/2006/main">
            <a:ext uri="{FF2B5EF4-FFF2-40B4-BE49-F238E27FC236}">
              <a16:creationId xmlns:a16="http://schemas.microsoft.com/office/drawing/2014/main" id="{FDD9971E-35D0-9F8C-754B-4398F927E5E2}"/>
            </a:ext>
          </a:extLst>
        </cdr:cNvPr>
        <cdr:cNvSpPr txBox="1"/>
      </cdr:nvSpPr>
      <cdr:spPr>
        <a:xfrm xmlns:a="http://schemas.openxmlformats.org/drawingml/2006/main">
          <a:off x="942722" y="1517748"/>
          <a:ext cx="1696654" cy="179966"/>
        </a:xfrm>
        <a:prstGeom xmlns:a="http://schemas.openxmlformats.org/drawingml/2006/main" prst="rect">
          <a:avLst/>
        </a:prstGeom>
        <a:ln xmlns:a="http://schemas.openxmlformats.org/drawingml/2006/main">
          <a:no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800" kern="1200" dirty="0">
              <a:solidFill>
                <a:schemeClr val="accent5">
                  <a:lumMod val="75000"/>
                </a:schemeClr>
              </a:solidFill>
              <a:latin typeface="Arial" panose="020B0604020202020204" pitchFamily="34" charset="0"/>
              <a:cs typeface="Arial" panose="020B0604020202020204" pitchFamily="34" charset="0"/>
            </a:rPr>
            <a:t>Goal</a:t>
          </a:r>
          <a:endParaRPr lang="en-US" sz="1800" b="0" kern="1200" dirty="0">
            <a:solidFill>
              <a:schemeClr val="accent5">
                <a:lumMod val="75000"/>
              </a:schemeClr>
            </a:solidFill>
            <a:latin typeface="Arial" panose="020B0604020202020204" pitchFamily="34" charset="0"/>
            <a:cs typeface="Arial" panose="020B06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738740-AA5C-49B4-A4BB-3551C0A5F678}" type="datetimeFigureOut">
              <a:t>11/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B10A19-E94E-4338-92ED-7A94AC11BC26}" type="slidenum">
              <a:t>‹#›</a:t>
            </a:fld>
            <a:endParaRPr lang="en-US"/>
          </a:p>
        </p:txBody>
      </p:sp>
    </p:spTree>
    <p:extLst>
      <p:ext uri="{BB962C8B-B14F-4D97-AF65-F5344CB8AC3E}">
        <p14:creationId xmlns:p14="http://schemas.microsoft.com/office/powerpoint/2010/main" val="35514617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0C2A16-E831-4982-B14D-4D072FE2BF6C}" type="slidenum">
              <a:rPr lang="en-US" smtClean="0"/>
              <a:t>1</a:t>
            </a:fld>
            <a:endParaRPr lang="en-US"/>
          </a:p>
        </p:txBody>
      </p:sp>
    </p:spTree>
    <p:extLst>
      <p:ext uri="{BB962C8B-B14F-4D97-AF65-F5344CB8AC3E}">
        <p14:creationId xmlns:p14="http://schemas.microsoft.com/office/powerpoint/2010/main" val="10635885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p:spPr>
        <p:txBody>
          <a:bodyPr/>
          <a:lstStyle/>
          <a:p>
            <a:fld id="{1A84885D-6174-4F9D-85F0-AF3CD5F0F6D9}" type="slidenum">
              <a:rPr lang="en-US" smtClean="0"/>
              <a:pPr/>
              <a:t>29</a:t>
            </a:fld>
            <a:endParaRPr lang="en-US"/>
          </a:p>
        </p:txBody>
      </p:sp>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p:spPr>
        <p:txBody>
          <a:bodyPr/>
          <a:lstStyle/>
          <a:p>
            <a:pPr eaLnBrk="1" hangingPunct="1"/>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p:spPr>
        <p:txBody>
          <a:bodyPr/>
          <a:lstStyle/>
          <a:p>
            <a:fld id="{1A84885D-6174-4F9D-85F0-AF3CD5F0F6D9}" type="slidenum">
              <a:rPr lang="en-US" smtClean="0"/>
              <a:pPr/>
              <a:t>30</a:t>
            </a:fld>
            <a:endParaRPr lang="en-US"/>
          </a:p>
        </p:txBody>
      </p:sp>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5598601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p:spPr>
        <p:txBody>
          <a:bodyPr/>
          <a:lstStyle/>
          <a:p>
            <a:fld id="{1A84885D-6174-4F9D-85F0-AF3CD5F0F6D9}" type="slidenum">
              <a:rPr lang="en-US" smtClean="0"/>
              <a:pPr/>
              <a:t>31</a:t>
            </a:fld>
            <a:endParaRPr lang="en-US"/>
          </a:p>
        </p:txBody>
      </p:sp>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9934699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09BCFB-F5B7-DA49-AB4B-9B2B1DACD602}" type="slidenum">
              <a:rPr lang="en-US" smtClean="0"/>
              <a:t>32</a:t>
            </a:fld>
            <a:endParaRPr lang="en-US"/>
          </a:p>
        </p:txBody>
      </p:sp>
    </p:spTree>
    <p:extLst>
      <p:ext uri="{BB962C8B-B14F-4D97-AF65-F5344CB8AC3E}">
        <p14:creationId xmlns:p14="http://schemas.microsoft.com/office/powerpoint/2010/main" val="41379717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7"/>
          <p:cNvSpPr>
            <a:spLocks noGrp="1" noChangeArrowheads="1"/>
          </p:cNvSpPr>
          <p:nvPr>
            <p:ph type="sldNum" sz="quarter" idx="5"/>
          </p:nvPr>
        </p:nvSpPr>
        <p:spPr>
          <a:noFill/>
        </p:spPr>
        <p:txBody>
          <a:bodyPr/>
          <a:lstStyle/>
          <a:p>
            <a:fld id="{596139AD-A1FD-4FAD-8E58-101082E030AD}" type="slidenum">
              <a:rPr lang="en-US" smtClean="0"/>
              <a:pPr/>
              <a:t>33</a:t>
            </a:fld>
            <a:endParaRPr lang="en-US"/>
          </a:p>
        </p:txBody>
      </p:sp>
      <p:sp>
        <p:nvSpPr>
          <p:cNvPr id="23554" name="Rectangle 2"/>
          <p:cNvSpPr>
            <a:spLocks noGrp="1" noRot="1" noChangeAspect="1" noChangeArrowheads="1" noTextEdit="1"/>
          </p:cNvSpPr>
          <p:nvPr>
            <p:ph type="sldImg"/>
          </p:nvPr>
        </p:nvSpPr>
        <p:spPr>
          <a:ln/>
        </p:spPr>
      </p:sp>
      <p:sp>
        <p:nvSpPr>
          <p:cNvPr id="23555"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26640161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7"/>
          <p:cNvSpPr>
            <a:spLocks noGrp="1" noChangeArrowheads="1"/>
          </p:cNvSpPr>
          <p:nvPr>
            <p:ph type="sldNum" sz="quarter" idx="5"/>
          </p:nvPr>
        </p:nvSpPr>
        <p:spPr>
          <a:noFill/>
        </p:spPr>
        <p:txBody>
          <a:bodyPr/>
          <a:lstStyle/>
          <a:p>
            <a:fld id="{596139AD-A1FD-4FAD-8E58-101082E030AD}" type="slidenum">
              <a:rPr lang="en-US" smtClean="0"/>
              <a:pPr/>
              <a:t>34</a:t>
            </a:fld>
            <a:endParaRPr lang="en-US"/>
          </a:p>
        </p:txBody>
      </p:sp>
      <p:sp>
        <p:nvSpPr>
          <p:cNvPr id="23554" name="Rectangle 2"/>
          <p:cNvSpPr>
            <a:spLocks noGrp="1" noRot="1" noChangeAspect="1" noChangeArrowheads="1" noTextEdit="1"/>
          </p:cNvSpPr>
          <p:nvPr>
            <p:ph type="sldImg"/>
          </p:nvPr>
        </p:nvSpPr>
        <p:spPr>
          <a:ln/>
        </p:spPr>
      </p:sp>
      <p:sp>
        <p:nvSpPr>
          <p:cNvPr id="23555"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821240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Good morning!</a:t>
            </a:r>
          </a:p>
          <a:p>
            <a:pPr marL="171450" indent="-171450">
              <a:buFontTx/>
              <a:buChar char="-"/>
            </a:pPr>
            <a:r>
              <a:rPr lang="en-US" dirty="0"/>
              <a:t>My name is Claire Rainey, and I’m a Quality Improvement Analyst at T1D Exchange</a:t>
            </a:r>
          </a:p>
          <a:p>
            <a:pPr marL="171450" indent="-171450">
              <a:buFontTx/>
              <a:buChar char="-"/>
            </a:pPr>
            <a:r>
              <a:rPr lang="en-US" dirty="0"/>
              <a:t>I have been living with type for almost 5 years, and today I am going to talk about the </a:t>
            </a:r>
            <a:r>
              <a:rPr lang="en-US" i="1" dirty="0"/>
              <a:t>Emotional Impact of Clinical Encounters Among People Living with T1D</a:t>
            </a:r>
          </a:p>
          <a:p>
            <a:pPr marL="171450" indent="-171450">
              <a:buFontTx/>
              <a:buChar char="-"/>
            </a:pPr>
            <a:r>
              <a:rPr lang="en-US" dirty="0"/>
              <a:t>Before I dive in, I want to take a moment to acknowledge my audience. I know I’m speaking to clinicians who already go above and beyond when it comes to empathy and connection. My goal today isn’t to criticize, but to bring awareness to some of the negative experiences people with type 1 face, and then build on the great work you’re already doing by thinking together about how we can make positive, supportive experiences the norm for everyone living with type 1</a:t>
            </a:r>
            <a:endParaRPr lang="en-US" i="1" dirty="0"/>
          </a:p>
        </p:txBody>
      </p:sp>
      <p:sp>
        <p:nvSpPr>
          <p:cNvPr id="4" name="Slide Number Placeholder 3"/>
          <p:cNvSpPr>
            <a:spLocks noGrp="1"/>
          </p:cNvSpPr>
          <p:nvPr>
            <p:ph type="sldNum" sz="quarter" idx="5"/>
          </p:nvPr>
        </p:nvSpPr>
        <p:spPr/>
        <p:txBody>
          <a:bodyPr/>
          <a:lstStyle/>
          <a:p>
            <a:fld id="{9A0C2A16-E831-4982-B14D-4D072FE2BF6C}" type="slidenum">
              <a:rPr lang="en-US" smtClean="0"/>
              <a:t>36</a:t>
            </a:fld>
            <a:endParaRPr lang="en-US"/>
          </a:p>
        </p:txBody>
      </p:sp>
    </p:spTree>
    <p:extLst>
      <p:ext uri="{BB962C8B-B14F-4D97-AF65-F5344CB8AC3E}">
        <p14:creationId xmlns:p14="http://schemas.microsoft.com/office/powerpoint/2010/main" val="10635885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 These misconceptions are not exclusive to interactions with family, friends, or things you might see in the media. They can occur in clinical settings too. </a:t>
            </a:r>
          </a:p>
        </p:txBody>
      </p:sp>
      <p:sp>
        <p:nvSpPr>
          <p:cNvPr id="4" name="Slide Number Placeholder 3"/>
          <p:cNvSpPr>
            <a:spLocks noGrp="1"/>
          </p:cNvSpPr>
          <p:nvPr>
            <p:ph type="sldNum" sz="quarter" idx="5"/>
          </p:nvPr>
        </p:nvSpPr>
        <p:spPr/>
        <p:txBody>
          <a:bodyPr/>
          <a:lstStyle/>
          <a:p>
            <a:fld id="{9A0C2A16-E831-4982-B14D-4D072FE2BF6C}" type="slidenum">
              <a:rPr lang="en-US" smtClean="0"/>
              <a:t>37</a:t>
            </a:fld>
            <a:endParaRPr lang="en-US"/>
          </a:p>
        </p:txBody>
      </p:sp>
    </p:spTree>
    <p:extLst>
      <p:ext uri="{BB962C8B-B14F-4D97-AF65-F5344CB8AC3E}">
        <p14:creationId xmlns:p14="http://schemas.microsoft.com/office/powerpoint/2010/main" val="12250115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linical staff included non-diabetes specialist care, endocrine care, primary care, front-line staff, check-in staff, staff who answer the phone </a:t>
            </a:r>
          </a:p>
          <a:p>
            <a:r>
              <a:rPr lang="en-US" dirty="0"/>
              <a:t>- Those who play a role in your clinical experience from start to end </a:t>
            </a:r>
          </a:p>
        </p:txBody>
      </p:sp>
      <p:sp>
        <p:nvSpPr>
          <p:cNvPr id="4" name="Slide Number Placeholder 3"/>
          <p:cNvSpPr>
            <a:spLocks noGrp="1"/>
          </p:cNvSpPr>
          <p:nvPr>
            <p:ph type="sldNum" sz="quarter" idx="5"/>
          </p:nvPr>
        </p:nvSpPr>
        <p:spPr/>
        <p:txBody>
          <a:bodyPr/>
          <a:lstStyle/>
          <a:p>
            <a:fld id="{9A0C2A16-E831-4982-B14D-4D072FE2BF6C}" type="slidenum">
              <a:rPr lang="en-US" smtClean="0"/>
              <a:t>38</a:t>
            </a:fld>
            <a:endParaRPr lang="en-US"/>
          </a:p>
        </p:txBody>
      </p:sp>
    </p:spTree>
    <p:extLst>
      <p:ext uri="{BB962C8B-B14F-4D97-AF65-F5344CB8AC3E}">
        <p14:creationId xmlns:p14="http://schemas.microsoft.com/office/powerpoint/2010/main" val="14575239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9DC1F6-D3DF-A6DD-2ABE-C874F8C076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BE7F0B-B746-F08C-2DF7-D28F6F7400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F34B3E-7603-8E88-299A-CC988CDE4867}"/>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We used inductive coding to analyze the stories that were shared and identified 6 major them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1" dirty="0"/>
              <a:t>Emotional guarding: </a:t>
            </a:r>
            <a:r>
              <a:rPr lang="en-US" sz="1200" kern="1200" dirty="0">
                <a:solidFill>
                  <a:schemeClr val="tx1"/>
                </a:solidFill>
                <a:effectLst/>
                <a:latin typeface="+mn-lt"/>
                <a:ea typeface="+mn-ea"/>
                <a:cs typeface="+mn-cs"/>
              </a:rPr>
              <a:t>Withholding and withdrawal, disengagement, loss of openness and trus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1" kern="1200" dirty="0">
                <a:solidFill>
                  <a:schemeClr val="tx1"/>
                </a:solidFill>
                <a:effectLst/>
                <a:latin typeface="+mn-lt"/>
                <a:ea typeface="+mn-ea"/>
                <a:cs typeface="+mn-cs"/>
              </a:rPr>
              <a:t>Inadequate support: </a:t>
            </a:r>
            <a:r>
              <a:rPr lang="en-US" sz="1200" b="0" kern="1200" dirty="0">
                <a:solidFill>
                  <a:schemeClr val="tx1"/>
                </a:solidFill>
                <a:effectLst/>
                <a:latin typeface="+mn-lt"/>
                <a:ea typeface="+mn-ea"/>
                <a:cs typeface="+mn-cs"/>
              </a:rPr>
              <a:t>refers to unmet needs - </a:t>
            </a:r>
            <a:r>
              <a:rPr lang="en-US" sz="1200" kern="1200" dirty="0">
                <a:solidFill>
                  <a:schemeClr val="tx1"/>
                </a:solidFill>
                <a:effectLst/>
                <a:latin typeface="+mn-lt"/>
                <a:ea typeface="+mn-ea"/>
                <a:cs typeface="+mn-cs"/>
              </a:rPr>
              <a:t>Patients are left feeling isolated or unseen, rather than empowered and understoo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a:extLst>
              <a:ext uri="{FF2B5EF4-FFF2-40B4-BE49-F238E27FC236}">
                <a16:creationId xmlns:a16="http://schemas.microsoft.com/office/drawing/2014/main" id="{B0F6E0F7-CC57-D007-F13E-96C44EF5824E}"/>
              </a:ext>
            </a:extLst>
          </p:cNvPr>
          <p:cNvSpPr>
            <a:spLocks noGrp="1"/>
          </p:cNvSpPr>
          <p:nvPr>
            <p:ph type="sldNum" sz="quarter" idx="5"/>
          </p:nvPr>
        </p:nvSpPr>
        <p:spPr/>
        <p:txBody>
          <a:bodyPr/>
          <a:lstStyle/>
          <a:p>
            <a:fld id="{9A0C2A16-E831-4982-B14D-4D072FE2BF6C}" type="slidenum">
              <a:rPr lang="en-US" smtClean="0"/>
              <a:t>39</a:t>
            </a:fld>
            <a:endParaRPr lang="en-US"/>
          </a:p>
        </p:txBody>
      </p:sp>
    </p:spTree>
    <p:extLst>
      <p:ext uri="{BB962C8B-B14F-4D97-AF65-F5344CB8AC3E}">
        <p14:creationId xmlns:p14="http://schemas.microsoft.com/office/powerpoint/2010/main" val="1319729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28B0A8E-7829-4B2C-8EAA-8EB8AC7D50D3}" type="slidenum">
              <a:rPr lang="en-US" smtClean="0"/>
              <a:pPr/>
              <a:t>13</a:t>
            </a:fld>
            <a:endParaRPr lang="en-US"/>
          </a:p>
        </p:txBody>
      </p:sp>
    </p:spTree>
    <p:extLst>
      <p:ext uri="{BB962C8B-B14F-4D97-AF65-F5344CB8AC3E}">
        <p14:creationId xmlns:p14="http://schemas.microsoft.com/office/powerpoint/2010/main" val="33126454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a:t>I want to highlight a few of the stories that were shared. </a:t>
            </a:r>
            <a:endParaRPr lang="en-US" b="1">
              <a:ea typeface="Calibri"/>
              <a:cs typeface="Calibri"/>
            </a:endParaRPr>
          </a:p>
          <a:p>
            <a:pPr marL="0" marR="0" lvl="0" indent="0" algn="l" defTabSz="914400">
              <a:lnSpc>
                <a:spcPct val="100000"/>
              </a:lnSpc>
              <a:spcBef>
                <a:spcPts val="0"/>
              </a:spcBef>
              <a:spcAft>
                <a:spcPts val="0"/>
              </a:spcAft>
              <a:buClrTx/>
              <a:buSzTx/>
              <a:buFontTx/>
              <a:buNone/>
              <a:tabLst/>
              <a:defRPr/>
            </a:pPr>
            <a:r>
              <a:rPr lang="en-US" sz="1200" i="1" kern="1200">
                <a:solidFill>
                  <a:schemeClr val="tx1"/>
                </a:solidFill>
                <a:effectLst/>
                <a:latin typeface="+mn-lt"/>
                <a:ea typeface="+mn-ea"/>
                <a:cs typeface="+mn-cs"/>
              </a:rPr>
              <a:t>Summarize story, pick out one quote, and at the end say the result of what happened</a:t>
            </a:r>
            <a:br>
              <a:rPr lang="en-US" dirty="0">
                <a:cs typeface="+mn-lt"/>
              </a:rPr>
            </a:br>
            <a:r>
              <a:rPr lang="en-US" b="1" dirty="0"/>
              <a:t>Summary</a:t>
            </a:r>
            <a:r>
              <a:rPr lang="en-US" dirty="0"/>
              <a:t> -- At her first adult diabetes clinic visit, the speaker was met with a dismissive, judgmental comment from a front desk staff member, leaving her feeling belittled and uncomfortable before even seeing her care team.</a:t>
            </a:r>
            <a:endParaRPr lang="en-US"/>
          </a:p>
          <a:p>
            <a:r>
              <a:rPr lang="en-US" b="1" dirty="0"/>
              <a:t>Read second and third paragraph </a:t>
            </a:r>
            <a:br>
              <a:rPr lang="en-US" dirty="0"/>
            </a:br>
            <a:r>
              <a:rPr lang="en-US" b="1" dirty="0"/>
              <a:t>Result </a:t>
            </a:r>
            <a:r>
              <a:rPr lang="en-US" dirty="0"/>
              <a:t>This story is unique because the negative comment came from a security guard. It highlights that everyone in a clinical setting—no matter their role—plays a significant part in the patient experience, and what they say truly matters. Additionally, because this was the patient’s first visit at the adult clinic, the encounter set the tone for all future appointments.</a:t>
            </a:r>
          </a:p>
        </p:txBody>
      </p:sp>
      <p:sp>
        <p:nvSpPr>
          <p:cNvPr id="4" name="Slide Number Placeholder 3"/>
          <p:cNvSpPr>
            <a:spLocks noGrp="1"/>
          </p:cNvSpPr>
          <p:nvPr>
            <p:ph type="sldNum" sz="quarter" idx="5"/>
          </p:nvPr>
        </p:nvSpPr>
        <p:spPr/>
        <p:txBody>
          <a:bodyPr/>
          <a:lstStyle/>
          <a:p>
            <a:fld id="{9A0C2A16-E831-4982-B14D-4D072FE2BF6C}" type="slidenum">
              <a:rPr lang="en-US" smtClean="0"/>
              <a:t>41</a:t>
            </a:fld>
            <a:endParaRPr lang="en-US"/>
          </a:p>
        </p:txBody>
      </p:sp>
    </p:spTree>
    <p:extLst>
      <p:ext uri="{BB962C8B-B14F-4D97-AF65-F5344CB8AC3E}">
        <p14:creationId xmlns:p14="http://schemas.microsoft.com/office/powerpoint/2010/main" val="2011650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sz="1200" i="1" kern="1200" dirty="0">
                <a:solidFill>
                  <a:schemeClr val="tx1"/>
                </a:solidFill>
                <a:effectLst/>
                <a:latin typeface="+mn-lt"/>
                <a:ea typeface="+mn-ea"/>
                <a:cs typeface="+mn-cs"/>
              </a:rPr>
              <a:t>Summarize story, pick out one quote, and at the end say the result of what happened</a:t>
            </a:r>
          </a:p>
          <a:p>
            <a:pPr marL="0" indent="0">
              <a:buFontTx/>
              <a:buNone/>
            </a:pPr>
            <a:r>
              <a:rPr lang="en-US" sz="1200" b="1" i="0" kern="1200" dirty="0">
                <a:solidFill>
                  <a:schemeClr val="tx1"/>
                </a:solidFill>
                <a:effectLst/>
                <a:latin typeface="+mn-lt"/>
                <a:ea typeface="+mn-ea"/>
                <a:cs typeface="+mn-cs"/>
              </a:rPr>
              <a:t>Summary</a:t>
            </a:r>
            <a:r>
              <a:rPr lang="en-US" sz="1200" i="1" kern="1200" dirty="0">
                <a:solidFill>
                  <a:schemeClr val="tx1"/>
                </a:solidFill>
                <a:effectLst/>
                <a:latin typeface="+mn-lt"/>
                <a:ea typeface="+mn-ea"/>
                <a:cs typeface="+mn-cs"/>
              </a:rPr>
              <a:t> -- </a:t>
            </a:r>
            <a:r>
              <a:rPr lang="en-US" dirty="0"/>
              <a:t>During a short OB/GYN visit, the nurse practitioner fixated on a small change in A1c rather than the reason for the appointment, disregarding both context and the patient’s endocrinologist’s guidance. This left the patient feeling dismissed, panicked, and resentful that her actual concerns were overlooked.</a:t>
            </a:r>
            <a:br>
              <a:rPr lang="en-US" dirty="0"/>
            </a:br>
            <a:r>
              <a:rPr lang="en-US" dirty="0"/>
              <a:t>– Her immediate needs were not addressed.</a:t>
            </a:r>
            <a:br>
              <a:rPr lang="en-US" dirty="0"/>
            </a:br>
            <a:r>
              <a:rPr lang="en-US" dirty="0"/>
              <a:t>– Not everyone is in a position—or has the knowledge—to challenge or correct misinformed comments.</a:t>
            </a:r>
            <a:br>
              <a:rPr lang="en-US" dirty="0"/>
            </a:br>
            <a:r>
              <a:rPr lang="en-US" dirty="0"/>
              <a:t>– Universal theme: there is often not enough time in healthcare for meaningful, patient-centered conversations.</a:t>
            </a:r>
          </a:p>
        </p:txBody>
      </p:sp>
      <p:sp>
        <p:nvSpPr>
          <p:cNvPr id="4" name="Slide Number Placeholder 3"/>
          <p:cNvSpPr>
            <a:spLocks noGrp="1"/>
          </p:cNvSpPr>
          <p:nvPr>
            <p:ph type="sldNum" sz="quarter" idx="5"/>
          </p:nvPr>
        </p:nvSpPr>
        <p:spPr/>
        <p:txBody>
          <a:bodyPr/>
          <a:lstStyle/>
          <a:p>
            <a:fld id="{9A0C2A16-E831-4982-B14D-4D072FE2BF6C}" type="slidenum">
              <a:rPr lang="en-US" smtClean="0"/>
              <a:t>42</a:t>
            </a:fld>
            <a:endParaRPr lang="en-US"/>
          </a:p>
        </p:txBody>
      </p:sp>
    </p:spTree>
    <p:extLst>
      <p:ext uri="{BB962C8B-B14F-4D97-AF65-F5344CB8AC3E}">
        <p14:creationId xmlns:p14="http://schemas.microsoft.com/office/powerpoint/2010/main" val="12989390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sz="1200" i="1" kern="1200" dirty="0">
                <a:solidFill>
                  <a:schemeClr val="tx1"/>
                </a:solidFill>
                <a:effectLst/>
                <a:latin typeface="+mn-lt"/>
                <a:ea typeface="+mn-ea"/>
                <a:cs typeface="+mn-cs"/>
              </a:rPr>
              <a:t>Summarize story, pick out one quote, and at the end say the result of what happened</a:t>
            </a:r>
          </a:p>
          <a:p>
            <a:pPr marL="0" indent="0">
              <a:buFontTx/>
              <a:buNone/>
            </a:pPr>
            <a:r>
              <a:rPr lang="en-US" b="1" dirty="0"/>
              <a:t>Summary</a:t>
            </a:r>
            <a:r>
              <a:rPr lang="en-US" b="0" dirty="0"/>
              <a:t> -- The speaker describes feeling repeatedly judged and disbelieved by their provider, whose skepticism and inappropriate referrals eroded trust to the point that the patient stopped being honest and eventually left the practice without notice.</a:t>
            </a:r>
            <a:endParaRPr lang="en-US" sz="1200" b="0" i="1" kern="1200" dirty="0">
              <a:solidFill>
                <a:schemeClr val="tx1"/>
              </a:solidFill>
              <a:effectLst/>
              <a:latin typeface="+mn-lt"/>
              <a:ea typeface="+mn-ea"/>
              <a:cs typeface="+mn-cs"/>
            </a:endParaRPr>
          </a:p>
          <a:p>
            <a:pPr marL="171450" indent="-171450">
              <a:buFontTx/>
              <a:buChar char="-"/>
            </a:pPr>
            <a:r>
              <a:rPr lang="en-US" dirty="0"/>
              <a:t>This story demonstrates a complete loss of trust. There is nothing left </a:t>
            </a:r>
          </a:p>
          <a:p>
            <a:pPr marL="171450" indent="-171450">
              <a:buFontTx/>
              <a:buChar char="-"/>
            </a:pPr>
            <a:r>
              <a:rPr lang="en-US" dirty="0"/>
              <a:t>Think about privilege and socioeconomic status – patients can easily be completely lost in the system</a:t>
            </a:r>
          </a:p>
          <a:p>
            <a:pPr marL="171450" indent="-171450">
              <a:buFontTx/>
              <a:buChar char="-"/>
            </a:pPr>
            <a:r>
              <a:rPr lang="en-US" dirty="0"/>
              <a:t>This is her POV, but the doctor might have a different one</a:t>
            </a:r>
          </a:p>
          <a:p>
            <a:pPr marL="628650" lvl="1" indent="-171450">
              <a:buFontTx/>
              <a:buChar char="-"/>
            </a:pPr>
            <a:r>
              <a:rPr lang="en-US" dirty="0"/>
              <a:t>They might not know that she was deeply unhappy and abandoned the practice </a:t>
            </a:r>
          </a:p>
        </p:txBody>
      </p:sp>
      <p:sp>
        <p:nvSpPr>
          <p:cNvPr id="4" name="Slide Number Placeholder 3"/>
          <p:cNvSpPr>
            <a:spLocks noGrp="1"/>
          </p:cNvSpPr>
          <p:nvPr>
            <p:ph type="sldNum" sz="quarter" idx="5"/>
          </p:nvPr>
        </p:nvSpPr>
        <p:spPr/>
        <p:txBody>
          <a:bodyPr/>
          <a:lstStyle/>
          <a:p>
            <a:fld id="{9A0C2A16-E831-4982-B14D-4D072FE2BF6C}" type="slidenum">
              <a:rPr lang="en-US" smtClean="0"/>
              <a:t>43</a:t>
            </a:fld>
            <a:endParaRPr lang="en-US"/>
          </a:p>
        </p:txBody>
      </p:sp>
    </p:spTree>
    <p:extLst>
      <p:ext uri="{BB962C8B-B14F-4D97-AF65-F5344CB8AC3E}">
        <p14:creationId xmlns:p14="http://schemas.microsoft.com/office/powerpoint/2010/main" val="6549484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B10884-7A2D-46F1-A15C-C25A394483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A8FE79-C74A-BB64-0498-7A7FA23D17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D23735-D057-EFA2-8E6D-ABB139D2D45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71CC2B8-8487-DC3A-80A0-0FB227F36718}"/>
              </a:ext>
            </a:extLst>
          </p:cNvPr>
          <p:cNvSpPr>
            <a:spLocks noGrp="1"/>
          </p:cNvSpPr>
          <p:nvPr>
            <p:ph type="sldNum" sz="quarter" idx="5"/>
          </p:nvPr>
        </p:nvSpPr>
        <p:spPr/>
        <p:txBody>
          <a:bodyPr/>
          <a:lstStyle/>
          <a:p>
            <a:fld id="{9A0C2A16-E831-4982-B14D-4D072FE2BF6C}" type="slidenum">
              <a:rPr lang="en-US" smtClean="0"/>
              <a:t>44</a:t>
            </a:fld>
            <a:endParaRPr lang="en-US"/>
          </a:p>
        </p:txBody>
      </p:sp>
    </p:spTree>
    <p:extLst>
      <p:ext uri="{BB962C8B-B14F-4D97-AF65-F5344CB8AC3E}">
        <p14:creationId xmlns:p14="http://schemas.microsoft.com/office/powerpoint/2010/main" val="18928868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someone with zero healthcare training can set the tone for their clinical experience and can either make people feel supported or make them feel knocked down by the interaction </a:t>
            </a:r>
            <a:r>
              <a:rPr lang="en-US" dirty="0">
                <a:sym typeface="Wingdings" panose="05000000000000000000" pitchFamily="2" charset="2"/>
              </a:rPr>
              <a:t> point to experience with the security guard being judgmental about behavior </a:t>
            </a:r>
            <a:endParaRPr lang="en-US" dirty="0"/>
          </a:p>
        </p:txBody>
      </p:sp>
      <p:sp>
        <p:nvSpPr>
          <p:cNvPr id="4" name="Slide Number Placeholder 3"/>
          <p:cNvSpPr>
            <a:spLocks noGrp="1"/>
          </p:cNvSpPr>
          <p:nvPr>
            <p:ph type="sldNum" sz="quarter" idx="5"/>
          </p:nvPr>
        </p:nvSpPr>
        <p:spPr/>
        <p:txBody>
          <a:bodyPr/>
          <a:lstStyle/>
          <a:p>
            <a:fld id="{9A0C2A16-E831-4982-B14D-4D072FE2BF6C}" type="slidenum">
              <a:rPr lang="en-US" smtClean="0"/>
              <a:t>45</a:t>
            </a:fld>
            <a:endParaRPr lang="en-US"/>
          </a:p>
        </p:txBody>
      </p:sp>
    </p:spTree>
    <p:extLst>
      <p:ext uri="{BB962C8B-B14F-4D97-AF65-F5344CB8AC3E}">
        <p14:creationId xmlns:p14="http://schemas.microsoft.com/office/powerpoint/2010/main" val="106548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0BE87A-EFB7-1672-BEC4-A8E24F1ED0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A607A6-D909-EB37-B90E-558823ED04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EDD962-DC67-D105-9297-05AE0472A4A0}"/>
              </a:ext>
            </a:extLst>
          </p:cNvPr>
          <p:cNvSpPr>
            <a:spLocks noGrp="1"/>
          </p:cNvSpPr>
          <p:nvPr>
            <p:ph type="body" idx="1"/>
          </p:nvPr>
        </p:nvSpPr>
        <p:spPr/>
        <p:txBody>
          <a:bodyPr/>
          <a:lstStyle/>
          <a:p>
            <a:r>
              <a:rPr lang="en-US" dirty="0"/>
              <a:t>Even someone with zero healthcare training can set the tone for their clinical experience and can either make people feel supported or make them feel knocked down by the interaction </a:t>
            </a:r>
            <a:r>
              <a:rPr lang="en-US" dirty="0">
                <a:sym typeface="Wingdings" panose="05000000000000000000" pitchFamily="2" charset="2"/>
              </a:rPr>
              <a:t> point to experience with the security guard being judgmental about behavior </a:t>
            </a:r>
            <a:endParaRPr lang="en-US" dirty="0"/>
          </a:p>
        </p:txBody>
      </p:sp>
      <p:sp>
        <p:nvSpPr>
          <p:cNvPr id="4" name="Slide Number Placeholder 3">
            <a:extLst>
              <a:ext uri="{FF2B5EF4-FFF2-40B4-BE49-F238E27FC236}">
                <a16:creationId xmlns:a16="http://schemas.microsoft.com/office/drawing/2014/main" id="{6E36C48F-C49C-06B4-E040-881EAE56A5F1}"/>
              </a:ext>
            </a:extLst>
          </p:cNvPr>
          <p:cNvSpPr>
            <a:spLocks noGrp="1"/>
          </p:cNvSpPr>
          <p:nvPr>
            <p:ph type="sldNum" sz="quarter" idx="5"/>
          </p:nvPr>
        </p:nvSpPr>
        <p:spPr/>
        <p:txBody>
          <a:bodyPr/>
          <a:lstStyle/>
          <a:p>
            <a:fld id="{9A0C2A16-E831-4982-B14D-4D072FE2BF6C}" type="slidenum">
              <a:rPr lang="en-US" smtClean="0"/>
              <a:t>46</a:t>
            </a:fld>
            <a:endParaRPr lang="en-US"/>
          </a:p>
        </p:txBody>
      </p:sp>
    </p:spTree>
    <p:extLst>
      <p:ext uri="{BB962C8B-B14F-4D97-AF65-F5344CB8AC3E}">
        <p14:creationId xmlns:p14="http://schemas.microsoft.com/office/powerpoint/2010/main" val="39935983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C1F36B-10FF-D460-5DEF-B174EA22F5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FEA7E5-F0A6-E2EC-9FEB-BE49CADEE4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24800B-816F-DCDE-926B-FC3CB45E1262}"/>
              </a:ext>
            </a:extLst>
          </p:cNvPr>
          <p:cNvSpPr>
            <a:spLocks noGrp="1"/>
          </p:cNvSpPr>
          <p:nvPr>
            <p:ph type="body" idx="1"/>
          </p:nvPr>
        </p:nvSpPr>
        <p:spPr/>
        <p:txBody>
          <a:bodyPr/>
          <a:lstStyle/>
          <a:p>
            <a:pPr marL="171450" indent="-171450">
              <a:buFontTx/>
              <a:buChar char="-"/>
            </a:pPr>
            <a:r>
              <a:rPr lang="en-US" dirty="0"/>
              <a:t>Do we know the background of these people? </a:t>
            </a:r>
          </a:p>
          <a:p>
            <a:pPr marL="628650" lvl="1" indent="-171450">
              <a:buFontTx/>
              <a:buChar char="-"/>
            </a:pPr>
            <a:r>
              <a:rPr lang="en-US" dirty="0"/>
              <a:t>The group largely reflects the QOTD population which skews slightly older, female, private insurance, device using, and more than 70% white</a:t>
            </a:r>
          </a:p>
          <a:p>
            <a:pPr marL="457200">
              <a:buFont typeface="Arial"/>
              <a:buChar char="•"/>
            </a:pPr>
            <a:r>
              <a:rPr lang="en-US"/>
              <a:t>Insulin pump use: ~80-90%</a:t>
            </a:r>
            <a:endParaRPr lang="en-US" dirty="0">
              <a:ea typeface="Calibri" panose="020F0502020204030204"/>
              <a:cs typeface="Calibri" panose="020F0502020204030204"/>
            </a:endParaRPr>
          </a:p>
          <a:p>
            <a:pPr lvl="1">
              <a:buFont typeface="Arial"/>
              <a:buChar char="•"/>
            </a:pPr>
            <a:r>
              <a:rPr lang="en-US"/>
              <a:t>CGM use: &gt;95%</a:t>
            </a:r>
          </a:p>
          <a:p>
            <a:pPr lvl="1">
              <a:buFont typeface="Arial"/>
              <a:buChar char="•"/>
            </a:pPr>
            <a:r>
              <a:rPr lang="en-US"/>
              <a:t>Insurance: About half have private, employer-provided insurance plans and about 1/3 have Medicare</a:t>
            </a:r>
          </a:p>
          <a:p>
            <a:pPr lvl="1">
              <a:buFont typeface="Arial"/>
              <a:buChar char="•"/>
            </a:pPr>
            <a:r>
              <a:rPr lang="en-US"/>
              <a:t>Race: ~80-90% white</a:t>
            </a:r>
          </a:p>
          <a:p>
            <a:pPr lvl="1">
              <a:buFont typeface="Arial"/>
              <a:buChar char="•"/>
            </a:pPr>
            <a:r>
              <a:rPr lang="en-US"/>
              <a:t>No specific gender questions, but anecdotally, skews female </a:t>
            </a:r>
          </a:p>
          <a:p>
            <a:pPr lvl="1">
              <a:buFont typeface="Arial"/>
              <a:buChar char="•"/>
            </a:pPr>
            <a:r>
              <a:rPr lang="en-US"/>
              <a:t>Duration of T1D: </a:t>
            </a:r>
          </a:p>
          <a:p>
            <a:pPr lvl="1">
              <a:buFont typeface="Arial"/>
              <a:buChar char="•"/>
            </a:pPr>
            <a:r>
              <a:rPr lang="en-US"/>
              <a:t>~5% diagnosed within the past 5 years</a:t>
            </a:r>
          </a:p>
          <a:p>
            <a:pPr lvl="1">
              <a:buFont typeface="Arial"/>
              <a:buChar char="•"/>
            </a:pPr>
            <a:r>
              <a:rPr lang="en-US"/>
              <a:t>~78% have had T1D for more than 25 years</a:t>
            </a:r>
          </a:p>
          <a:p>
            <a:pPr lvl="1">
              <a:buFont typeface="Arial"/>
              <a:buChar char="•"/>
            </a:pPr>
            <a:r>
              <a:rPr lang="en-US"/>
              <a:t>~31% have had T1D more than 50 years</a:t>
            </a:r>
          </a:p>
          <a:p>
            <a:pPr marL="171450" indent="-171450">
              <a:buFontTx/>
              <a:buChar char="-"/>
            </a:pPr>
            <a:r>
              <a:rPr lang="en-US" dirty="0"/>
              <a:t>Suggestions on how to train staff</a:t>
            </a:r>
          </a:p>
          <a:p>
            <a:pPr marL="628650" lvl="1" indent="-171450">
              <a:buFontTx/>
              <a:buChar char="-"/>
            </a:pPr>
            <a:r>
              <a:rPr lang="en-US" dirty="0"/>
              <a:t>Important to remember that every interaction sets the stage for the patient experience</a:t>
            </a:r>
          </a:p>
          <a:p>
            <a:pPr marL="628650" lvl="1" indent="-171450">
              <a:buFontTx/>
              <a:buChar char="-"/>
            </a:pPr>
            <a:r>
              <a:rPr lang="en-US" dirty="0"/>
              <a:t>Validate the role that everyone at the practice has</a:t>
            </a:r>
          </a:p>
          <a:p>
            <a:pPr marL="628650" lvl="1" indent="-171450">
              <a:buFontTx/>
              <a:buChar char="-"/>
            </a:pPr>
            <a:r>
              <a:rPr lang="en-US" dirty="0"/>
              <a:t>Don’t just include clinicians, but include all staff that is part of the patient experience </a:t>
            </a:r>
          </a:p>
          <a:p>
            <a:pPr marL="171450" indent="-171450">
              <a:buFontTx/>
              <a:buChar char="-"/>
            </a:pPr>
            <a:r>
              <a:rPr lang="en-US" dirty="0"/>
              <a:t>Hospital have ways of evaluating pt experience, there are large companies that do a practice survey (survey questions are extremely generic so do not show real experiences – imperfect system)</a:t>
            </a:r>
          </a:p>
          <a:p>
            <a:pPr marL="628650" lvl="1" indent="-171450">
              <a:buFontTx/>
              <a:buChar char="-"/>
            </a:pPr>
            <a:r>
              <a:rPr lang="en-US" dirty="0"/>
              <a:t>Opportunities for clinics to make space so that patients can be more honest - and clinics can learn more from honest feedback </a:t>
            </a:r>
          </a:p>
        </p:txBody>
      </p:sp>
      <p:sp>
        <p:nvSpPr>
          <p:cNvPr id="4" name="Slide Number Placeholder 3">
            <a:extLst>
              <a:ext uri="{FF2B5EF4-FFF2-40B4-BE49-F238E27FC236}">
                <a16:creationId xmlns:a16="http://schemas.microsoft.com/office/drawing/2014/main" id="{343A388B-118A-9A81-2E7E-0ED4019C44D8}"/>
              </a:ext>
            </a:extLst>
          </p:cNvPr>
          <p:cNvSpPr>
            <a:spLocks noGrp="1"/>
          </p:cNvSpPr>
          <p:nvPr>
            <p:ph type="sldNum" sz="quarter" idx="5"/>
          </p:nvPr>
        </p:nvSpPr>
        <p:spPr/>
        <p:txBody>
          <a:bodyPr/>
          <a:lstStyle/>
          <a:p>
            <a:fld id="{9A0C2A16-E831-4982-B14D-4D072FE2BF6C}" type="slidenum">
              <a:rPr lang="en-US" smtClean="0"/>
              <a:t>47</a:t>
            </a:fld>
            <a:endParaRPr lang="en-US"/>
          </a:p>
        </p:txBody>
      </p:sp>
    </p:spTree>
    <p:extLst>
      <p:ext uri="{BB962C8B-B14F-4D97-AF65-F5344CB8AC3E}">
        <p14:creationId xmlns:p14="http://schemas.microsoft.com/office/powerpoint/2010/main" val="1589306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BC01090-F801-417B-A870-9D6D3FF9EEDD}" type="slidenum">
              <a:rPr lang="en-US" smtClean="0"/>
              <a:pPr/>
              <a:t>15</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BC01090-F801-417B-A870-9D6D3FF9EEDD}" type="slidenum">
              <a:rPr lang="en-US" smtClean="0"/>
              <a:pPr/>
              <a:t>16</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7AAF69-5F8F-45D5-9ABA-C0F0663E5372}" type="slidenum">
              <a:rPr lang="en-US" smtClean="0"/>
              <a:pPr/>
              <a:t>17</a:t>
            </a:fld>
            <a:endParaRPr lang="en-US"/>
          </a:p>
        </p:txBody>
      </p:sp>
    </p:spTree>
    <p:extLst>
      <p:ext uri="{BB962C8B-B14F-4D97-AF65-F5344CB8AC3E}">
        <p14:creationId xmlns:p14="http://schemas.microsoft.com/office/powerpoint/2010/main" val="2346906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09BCFB-F5B7-DA49-AB4B-9B2B1DACD602}" type="slidenum">
              <a:rPr lang="en-US" smtClean="0"/>
              <a:t>25</a:t>
            </a:fld>
            <a:endParaRPr lang="en-US"/>
          </a:p>
        </p:txBody>
      </p:sp>
    </p:spTree>
    <p:extLst>
      <p:ext uri="{BB962C8B-B14F-4D97-AF65-F5344CB8AC3E}">
        <p14:creationId xmlns:p14="http://schemas.microsoft.com/office/powerpoint/2010/main" val="3905192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noTextEdit="1"/>
          </p:cNvSpPr>
          <p:nvPr>
            <p:ph type="sldImg"/>
          </p:nvPr>
        </p:nvSpPr>
        <p:spPr>
          <a:xfrm>
            <a:off x="460375" y="730250"/>
            <a:ext cx="6488113" cy="3649663"/>
          </a:xfrm>
          <a:ln/>
        </p:spPr>
      </p:sp>
      <p:sp>
        <p:nvSpPr>
          <p:cNvPr id="20482" name="Notes Placeholder 2"/>
          <p:cNvSpPr>
            <a:spLocks noGrp="1"/>
          </p:cNvSpPr>
          <p:nvPr>
            <p:ph type="body" idx="1"/>
          </p:nvPr>
        </p:nvSpPr>
        <p:spPr>
          <a:noFill/>
          <a:ln/>
        </p:spPr>
        <p:txBody>
          <a:bodyPr/>
          <a:lstStyle/>
          <a:p>
            <a:pPr eaLnBrk="1" hangingPunct="1"/>
            <a:endParaRPr lang="en-US"/>
          </a:p>
        </p:txBody>
      </p:sp>
      <p:sp>
        <p:nvSpPr>
          <p:cNvPr id="20483" name="Slide Number Placeholder 3"/>
          <p:cNvSpPr>
            <a:spLocks noGrp="1"/>
          </p:cNvSpPr>
          <p:nvPr>
            <p:ph type="sldNum" sz="quarter" idx="5"/>
          </p:nvPr>
        </p:nvSpPr>
        <p:spPr>
          <a:noFill/>
        </p:spPr>
        <p:txBody>
          <a:bodyPr/>
          <a:lstStyle/>
          <a:p>
            <a:fld id="{EEAA6D47-F10E-47DF-AFEA-98180F622974}"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2801733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7"/>
          <p:cNvSpPr>
            <a:spLocks noGrp="1" noChangeArrowheads="1"/>
          </p:cNvSpPr>
          <p:nvPr>
            <p:ph type="sldNum" sz="quarter" idx="5"/>
          </p:nvPr>
        </p:nvSpPr>
        <p:spPr>
          <a:noFill/>
        </p:spPr>
        <p:txBody>
          <a:bodyPr/>
          <a:lstStyle/>
          <a:p>
            <a:fld id="{E21CFEB5-88C0-4382-A78F-2B1E50ED752F}" type="slidenum">
              <a:rPr lang="en-US" smtClean="0"/>
              <a:pPr/>
              <a:t>27</a:t>
            </a:fld>
            <a:endParaRPr lang="en-US"/>
          </a:p>
        </p:txBody>
      </p:sp>
      <p:sp>
        <p:nvSpPr>
          <p:cNvPr id="21506" name="Rectangle 2"/>
          <p:cNvSpPr>
            <a:spLocks noGrp="1" noRot="1" noChangeAspect="1" noChangeArrowheads="1" noTextEdit="1"/>
          </p:cNvSpPr>
          <p:nvPr>
            <p:ph type="sldImg"/>
          </p:nvPr>
        </p:nvSpPr>
        <p:spPr>
          <a:ln/>
        </p:spPr>
      </p:sp>
      <p:sp>
        <p:nvSpPr>
          <p:cNvPr id="21507" name="Rectangle 3"/>
          <p:cNvSpPr>
            <a:spLocks noGrp="1" noChangeArrowheads="1"/>
          </p:cNvSpPr>
          <p:nvPr>
            <p:ph type="body" idx="1"/>
          </p:nvPr>
        </p:nvSpPr>
        <p:spPr>
          <a:noFill/>
          <a:ln/>
        </p:spPr>
        <p:txBody>
          <a:bodyPr/>
          <a:lstStyle/>
          <a:p>
            <a:pPr eaLnBrk="1" hangingPunct="1"/>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7"/>
          <p:cNvSpPr>
            <a:spLocks noGrp="1" noChangeArrowheads="1"/>
          </p:cNvSpPr>
          <p:nvPr>
            <p:ph type="sldNum" sz="quarter" idx="5"/>
          </p:nvPr>
        </p:nvSpPr>
        <p:spPr>
          <a:noFill/>
        </p:spPr>
        <p:txBody>
          <a:bodyPr/>
          <a:lstStyle/>
          <a:p>
            <a:fld id="{596139AD-A1FD-4FAD-8E58-101082E030AD}" type="slidenum">
              <a:rPr lang="en-US" smtClean="0"/>
              <a:pPr/>
              <a:t>28</a:t>
            </a:fld>
            <a:endParaRPr lang="en-US"/>
          </a:p>
        </p:txBody>
      </p:sp>
      <p:sp>
        <p:nvSpPr>
          <p:cNvPr id="23554" name="Rectangle 2"/>
          <p:cNvSpPr>
            <a:spLocks noGrp="1" noRot="1" noChangeAspect="1" noChangeArrowheads="1" noTextEdit="1"/>
          </p:cNvSpPr>
          <p:nvPr>
            <p:ph type="sldImg"/>
          </p:nvPr>
        </p:nvSpPr>
        <p:spPr>
          <a:ln/>
        </p:spPr>
      </p:sp>
      <p:sp>
        <p:nvSpPr>
          <p:cNvPr id="23555"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ullets, 2 Columns">
    <p:spTree>
      <p:nvGrpSpPr>
        <p:cNvPr id="1" name=""/>
        <p:cNvGrpSpPr/>
        <p:nvPr/>
      </p:nvGrpSpPr>
      <p:grpSpPr>
        <a:xfrm>
          <a:off x="0" y="0"/>
          <a:ext cx="0" cy="0"/>
          <a:chOff x="0" y="0"/>
          <a:chExt cx="0" cy="0"/>
        </a:xfrm>
      </p:grpSpPr>
      <p:sp>
        <p:nvSpPr>
          <p:cNvPr id="70" name="Title Text"/>
          <p:cNvSpPr txBox="1">
            <a:spLocks noGrp="1"/>
          </p:cNvSpPr>
          <p:nvPr>
            <p:ph type="title"/>
          </p:nvPr>
        </p:nvSpPr>
        <p:spPr>
          <a:xfrm>
            <a:off x="548640" y="228600"/>
            <a:ext cx="10972800" cy="457200"/>
          </a:xfrm>
          <a:prstGeom prst="rect">
            <a:avLst/>
          </a:prstGeom>
        </p:spPr>
        <p:txBody>
          <a:bodyPr/>
          <a:lstStyle/>
          <a:p>
            <a:r>
              <a:rPr lang="en-US"/>
              <a:t>Click to edit Master title style</a:t>
            </a:r>
            <a:endParaRPr/>
          </a:p>
        </p:txBody>
      </p:sp>
      <p:sp>
        <p:nvSpPr>
          <p:cNvPr id="3" name="Content Placeholder 2"/>
          <p:cNvSpPr>
            <a:spLocks noGrp="1"/>
          </p:cNvSpPr>
          <p:nvPr>
            <p:ph sz="quarter" idx="10"/>
          </p:nvPr>
        </p:nvSpPr>
        <p:spPr>
          <a:xfrm>
            <a:off x="549274" y="914400"/>
            <a:ext cx="5257800" cy="4876800"/>
          </a:xfrm>
        </p:spPr>
        <p:txBody>
          <a:bodyPr>
            <a:noAutofit/>
          </a:bodyPr>
          <a:lstStyle>
            <a:lvl1pPr>
              <a:buClr>
                <a:srgbClr val="52CAE0"/>
              </a:buClr>
              <a:buSzPct val="125000"/>
              <a:defRPr>
                <a:solidFill>
                  <a:srgbClr val="47606D"/>
                </a:solidFill>
              </a:defRPr>
            </a:lvl1pPr>
            <a:lvl2pPr marL="685799" indent="-342900">
              <a:buClr>
                <a:srgbClr val="52CAE0"/>
              </a:buClr>
              <a:buSzPct val="90000"/>
              <a:buFont typeface="Courier New" panose="02070309020205020404" pitchFamily="49" charset="0"/>
              <a:buChar char="o"/>
              <a:defRPr>
                <a:solidFill>
                  <a:srgbClr val="47606D"/>
                </a:solidFill>
              </a:defRPr>
            </a:lvl2pPr>
            <a:lvl3pPr marL="891538" indent="-205738">
              <a:buClr>
                <a:srgbClr val="52CAE0"/>
              </a:buClr>
              <a:buSzPct val="110000"/>
              <a:buFont typeface="Wingdings" panose="05000000000000000000" pitchFamily="2" charset="2"/>
              <a:buChar char="§"/>
              <a:defRPr>
                <a:solidFill>
                  <a:srgbClr val="47606D"/>
                </a:solidFill>
              </a:defRPr>
            </a:lvl3pPr>
            <a:lvl4pPr marL="1266092" indent="-237392">
              <a:buClr>
                <a:srgbClr val="52CAE0"/>
              </a:buClr>
              <a:buSzPct val="60000"/>
              <a:buFont typeface="Wingdings" panose="05000000000000000000" pitchFamily="2" charset="2"/>
              <a:buChar char="q"/>
              <a:defRPr>
                <a:solidFill>
                  <a:srgbClr val="47606D"/>
                </a:solidFill>
              </a:defRPr>
            </a:lvl4pPr>
            <a:lvl5pPr marL="1608992" indent="-237392">
              <a:buClr>
                <a:srgbClr val="52CAE0"/>
              </a:buClr>
              <a:buSzPct val="80000"/>
              <a:buFont typeface="Wingdings" panose="05000000000000000000" pitchFamily="2" charset="2"/>
              <a:buChar char="Ø"/>
              <a:defRPr>
                <a:solidFill>
                  <a:srgbClr val="47606D"/>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quarter" idx="11"/>
          </p:nvPr>
        </p:nvSpPr>
        <p:spPr>
          <a:xfrm>
            <a:off x="6263640" y="914400"/>
            <a:ext cx="5257800" cy="4876800"/>
          </a:xfrm>
        </p:spPr>
        <p:txBody>
          <a:bodyPr>
            <a:noAutofit/>
          </a:bodyPr>
          <a:lstStyle>
            <a:lvl1pPr>
              <a:buClr>
                <a:srgbClr val="52CAE0"/>
              </a:buClr>
              <a:buSzPct val="125000"/>
              <a:defRPr>
                <a:solidFill>
                  <a:srgbClr val="47606D"/>
                </a:solidFill>
              </a:defRPr>
            </a:lvl1pPr>
            <a:lvl2pPr marL="685799" indent="-342900">
              <a:buClr>
                <a:srgbClr val="52CAE0"/>
              </a:buClr>
              <a:buSzPct val="90000"/>
              <a:buFont typeface="Courier New" panose="02070309020205020404" pitchFamily="49" charset="0"/>
              <a:buChar char="o"/>
              <a:defRPr>
                <a:solidFill>
                  <a:srgbClr val="47606D"/>
                </a:solidFill>
              </a:defRPr>
            </a:lvl2pPr>
            <a:lvl3pPr marL="891538" indent="-205738">
              <a:buClr>
                <a:srgbClr val="52CAE0"/>
              </a:buClr>
              <a:buSzPct val="110000"/>
              <a:buFont typeface="Wingdings" panose="05000000000000000000" pitchFamily="2" charset="2"/>
              <a:buChar char="§"/>
              <a:defRPr>
                <a:solidFill>
                  <a:srgbClr val="47606D"/>
                </a:solidFill>
              </a:defRPr>
            </a:lvl3pPr>
            <a:lvl4pPr marL="1266092" indent="-237392">
              <a:buClr>
                <a:srgbClr val="52CAE0"/>
              </a:buClr>
              <a:buSzPct val="60000"/>
              <a:buFont typeface="Wingdings" panose="05000000000000000000" pitchFamily="2" charset="2"/>
              <a:buChar char="q"/>
              <a:defRPr>
                <a:solidFill>
                  <a:srgbClr val="47606D"/>
                </a:solidFill>
              </a:defRPr>
            </a:lvl4pPr>
            <a:lvl5pPr marL="1608992" indent="-237392">
              <a:buClr>
                <a:srgbClr val="52CAE0"/>
              </a:buClr>
              <a:buSzPct val="80000"/>
              <a:buFont typeface="Wingdings" panose="05000000000000000000" pitchFamily="2" charset="2"/>
              <a:buChar char="Ø"/>
              <a:defRPr>
                <a:solidFill>
                  <a:srgbClr val="47606D"/>
                </a:solidFill>
              </a:defRPr>
            </a:lvl5pPr>
            <a:lvl6pPr marL="1988817" indent="-274317">
              <a:buClr>
                <a:schemeClr val="tx1"/>
              </a:buClr>
              <a:buSzPct val="80000"/>
              <a:buFont typeface="Wingdings" panose="05000000000000000000" pitchFamily="2" charset="2"/>
              <a:buChar char="v"/>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11AA361F-9EAB-B64D-8795-E7A20B30FD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3750089566"/>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1/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Slide BCM/TCH">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94D495FE-242D-CD84-88ED-56A5AF718901}"/>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9285883" y="2172920"/>
            <a:ext cx="2919709" cy="4328160"/>
          </a:xfrm>
          <a:prstGeom prst="rect">
            <a:avLst/>
          </a:prstGeom>
        </p:spPr>
      </p:pic>
      <p:sp>
        <p:nvSpPr>
          <p:cNvPr id="10" name="Rectangle 9">
            <a:extLst>
              <a:ext uri="{FF2B5EF4-FFF2-40B4-BE49-F238E27FC236}">
                <a16:creationId xmlns:a16="http://schemas.microsoft.com/office/drawing/2014/main" id="{5CCD0CB1-ADFD-CBE6-31D9-7BB39C63FA07}"/>
              </a:ext>
            </a:extLst>
          </p:cNvPr>
          <p:cNvSpPr/>
          <p:nvPr userDrawn="1"/>
        </p:nvSpPr>
        <p:spPr>
          <a:xfrm flipH="1" flipV="1">
            <a:off x="0" y="-11291"/>
            <a:ext cx="9290611" cy="68579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47" name="Rectangle 46">
            <a:extLst>
              <a:ext uri="{FF2B5EF4-FFF2-40B4-BE49-F238E27FC236}">
                <a16:creationId xmlns:a16="http://schemas.microsoft.com/office/drawing/2014/main" id="{23AC07F4-C659-A97E-E9AE-8C9CE02C07B2}"/>
              </a:ext>
            </a:extLst>
          </p:cNvPr>
          <p:cNvSpPr/>
          <p:nvPr userDrawn="1"/>
        </p:nvSpPr>
        <p:spPr>
          <a:xfrm>
            <a:off x="9283767" y="2"/>
            <a:ext cx="2921825" cy="6857998"/>
          </a:xfrm>
          <a:prstGeom prst="rect">
            <a:avLst/>
          </a:prstGeom>
          <a:solidFill>
            <a:schemeClr val="tx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64" name="Rectangle 63">
            <a:extLst>
              <a:ext uri="{FF2B5EF4-FFF2-40B4-BE49-F238E27FC236}">
                <a16:creationId xmlns:a16="http://schemas.microsoft.com/office/drawing/2014/main" id="{3DAC5F80-AB3D-150D-DBC0-630B15B67EBC}"/>
              </a:ext>
            </a:extLst>
          </p:cNvPr>
          <p:cNvSpPr/>
          <p:nvPr userDrawn="1"/>
        </p:nvSpPr>
        <p:spPr>
          <a:xfrm>
            <a:off x="0" y="-56687"/>
            <a:ext cx="9287995" cy="217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userDrawn="1">
            <p:ph type="ctrTitle"/>
          </p:nvPr>
        </p:nvSpPr>
        <p:spPr>
          <a:xfrm>
            <a:off x="575733" y="3344122"/>
            <a:ext cx="5010979" cy="1221040"/>
          </a:xfrm>
          <a:prstGeom prst="rect">
            <a:avLst/>
          </a:prstGeom>
        </p:spPr>
        <p:txBody>
          <a:bodyPr vert="horz" wrap="square" anchor="t">
            <a:spAutoFit/>
          </a:bodyPr>
          <a:lstStyle>
            <a:lvl1pPr algn="l">
              <a:defRPr sz="44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575733" y="2854854"/>
            <a:ext cx="5010979"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ivision of</a:t>
            </a:r>
          </a:p>
        </p:txBody>
      </p:sp>
      <p:sp>
        <p:nvSpPr>
          <p:cNvPr id="21" name="Freeform: Shape 20">
            <a:extLst>
              <a:ext uri="{FF2B5EF4-FFF2-40B4-BE49-F238E27FC236}">
                <a16:creationId xmlns:a16="http://schemas.microsoft.com/office/drawing/2014/main" id="{96F69FCC-5E93-4F96-F4B8-6BEC091C9043}"/>
              </a:ext>
            </a:extLst>
          </p:cNvPr>
          <p:cNvSpPr/>
          <p:nvPr userDrawn="1"/>
        </p:nvSpPr>
        <p:spPr>
          <a:xfrm rot="7145101" flipH="1">
            <a:off x="6645306" y="5017256"/>
            <a:ext cx="4712400" cy="4711572"/>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56" name="Rectangle 55">
            <a:extLst>
              <a:ext uri="{FF2B5EF4-FFF2-40B4-BE49-F238E27FC236}">
                <a16:creationId xmlns:a16="http://schemas.microsoft.com/office/drawing/2014/main" id="{DF3D0DEF-90CF-0AC5-6EEF-8F2CF5FF9044}"/>
              </a:ext>
            </a:extLst>
          </p:cNvPr>
          <p:cNvSpPr/>
          <p:nvPr userDrawn="1"/>
        </p:nvSpPr>
        <p:spPr>
          <a:xfrm>
            <a:off x="9288000" y="2124666"/>
            <a:ext cx="2904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cxnSp>
        <p:nvCxnSpPr>
          <p:cNvPr id="66" name="Straight Connector 65">
            <a:extLst>
              <a:ext uri="{FF2B5EF4-FFF2-40B4-BE49-F238E27FC236}">
                <a16:creationId xmlns:a16="http://schemas.microsoft.com/office/drawing/2014/main" id="{112DA193-0F11-9C33-153E-6F1C6329BD7D}"/>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8034CE66-3063-B784-8A95-FF5CFE71B2B8}"/>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447E53E-2C5D-E89D-D73C-94D8DE6779E9}"/>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79" name="Text Placeholder 78">
            <a:extLst>
              <a:ext uri="{FF2B5EF4-FFF2-40B4-BE49-F238E27FC236}">
                <a16:creationId xmlns:a16="http://schemas.microsoft.com/office/drawing/2014/main" id="{7CFF9914-4550-7DF8-8420-F096A18B75C5}"/>
              </a:ext>
            </a:extLst>
          </p:cNvPr>
          <p:cNvSpPr>
            <a:spLocks noGrp="1"/>
          </p:cNvSpPr>
          <p:nvPr userDrawn="1">
            <p:ph type="body" sz="quarter" idx="10" hasCustomPrompt="1"/>
          </p:nvPr>
        </p:nvSpPr>
        <p:spPr>
          <a:xfrm>
            <a:off x="575733" y="5768424"/>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a:t>Presented by:</a:t>
            </a:r>
          </a:p>
        </p:txBody>
      </p:sp>
      <p:sp>
        <p:nvSpPr>
          <p:cNvPr id="80" name="Text Placeholder 78">
            <a:extLst>
              <a:ext uri="{FF2B5EF4-FFF2-40B4-BE49-F238E27FC236}">
                <a16:creationId xmlns:a16="http://schemas.microsoft.com/office/drawing/2014/main" id="{F84D9B9F-C346-FF36-69F1-4D2443AE68D0}"/>
              </a:ext>
            </a:extLst>
          </p:cNvPr>
          <p:cNvSpPr>
            <a:spLocks noGrp="1"/>
          </p:cNvSpPr>
          <p:nvPr userDrawn="1">
            <p:ph type="body" sz="quarter" idx="11" hasCustomPrompt="1"/>
          </p:nvPr>
        </p:nvSpPr>
        <p:spPr>
          <a:xfrm>
            <a:off x="575733" y="6008817"/>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a:t>Date</a:t>
            </a:r>
          </a:p>
        </p:txBody>
      </p:sp>
      <p:sp>
        <p:nvSpPr>
          <p:cNvPr id="13" name="Picture Placeholder 12">
            <a:extLst>
              <a:ext uri="{FF2B5EF4-FFF2-40B4-BE49-F238E27FC236}">
                <a16:creationId xmlns:a16="http://schemas.microsoft.com/office/drawing/2014/main" id="{A5482A8E-639B-55B9-5CDF-89707C4092DF}"/>
              </a:ext>
            </a:extLst>
          </p:cNvPr>
          <p:cNvSpPr>
            <a:spLocks noGrp="1"/>
          </p:cNvSpPr>
          <p:nvPr>
            <p:ph type="pic" sz="quarter" idx="12"/>
          </p:nvPr>
        </p:nvSpPr>
        <p:spPr>
          <a:xfrm>
            <a:off x="9285884" y="-7938"/>
            <a:ext cx="2904000" cy="2129251"/>
          </a:xfrm>
        </p:spPr>
        <p:txBody>
          <a:bodyPr anchor="ctr"/>
          <a:lstStyle>
            <a:lvl1pPr algn="ctr">
              <a:defRPr>
                <a:solidFill>
                  <a:schemeClr val="bg1"/>
                </a:solidFill>
              </a:defRPr>
            </a:lvl1pPr>
          </a:lstStyle>
          <a:p>
            <a:endParaRPr lang="en-US"/>
          </a:p>
        </p:txBody>
      </p:sp>
      <p:pic>
        <p:nvPicPr>
          <p:cNvPr id="17" name="Picture 16"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88406" y="678611"/>
            <a:ext cx="1547841" cy="1015102"/>
          </a:xfrm>
          <a:prstGeom prst="rect">
            <a:avLst/>
          </a:prstGeom>
        </p:spPr>
      </p:pic>
      <p:cxnSp>
        <p:nvCxnSpPr>
          <p:cNvPr id="18" name="Straight Connector 17">
            <a:extLst>
              <a:ext uri="{FF2B5EF4-FFF2-40B4-BE49-F238E27FC236}">
                <a16:creationId xmlns:a16="http://schemas.microsoft.com/office/drawing/2014/main" id="{9D6AC115-8997-0ACB-8E44-65EB7F2B2F1B}"/>
              </a:ext>
            </a:extLst>
          </p:cNvPr>
          <p:cNvCxnSpPr>
            <a:cxnSpLocks/>
          </p:cNvCxnSpPr>
          <p:nvPr userDrawn="1"/>
        </p:nvCxnSpPr>
        <p:spPr>
          <a:xfrm>
            <a:off x="4299235" y="1042547"/>
            <a:ext cx="0" cy="552761"/>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grpSp>
        <p:nvGrpSpPr>
          <p:cNvPr id="19" name="Group 18">
            <a:extLst>
              <a:ext uri="{FF2B5EF4-FFF2-40B4-BE49-F238E27FC236}">
                <a16:creationId xmlns:a16="http://schemas.microsoft.com/office/drawing/2014/main" id="{169A234B-2F89-D878-A2E4-C1DB0DE0CD2F}"/>
              </a:ext>
            </a:extLst>
          </p:cNvPr>
          <p:cNvGrpSpPr/>
          <p:nvPr userDrawn="1"/>
        </p:nvGrpSpPr>
        <p:grpSpPr>
          <a:xfrm>
            <a:off x="603792" y="812800"/>
            <a:ext cx="3306273" cy="880913"/>
            <a:chOff x="867628" y="426344"/>
            <a:chExt cx="1917483" cy="510888"/>
          </a:xfrm>
        </p:grpSpPr>
        <p:grpSp>
          <p:nvGrpSpPr>
            <p:cNvPr id="20" name="Group 1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23" name="Picture 22">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4" cstate="print"/>
              <a:srcRect t="-1" r="42158" b="17409"/>
              <a:stretch/>
            </p:blipFill>
            <p:spPr>
              <a:xfrm>
                <a:off x="1485617" y="160329"/>
                <a:ext cx="1299494" cy="209883"/>
              </a:xfrm>
              <a:prstGeom prst="rect">
                <a:avLst/>
              </a:prstGeom>
            </p:spPr>
          </p:pic>
          <p:pic>
            <p:nvPicPr>
              <p:cNvPr id="24" name="Picture 23">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4" cstate="print"/>
              <a:srcRect l="57841" t="-1" r="1797" b="17409"/>
              <a:stretch/>
            </p:blipFill>
            <p:spPr>
              <a:xfrm>
                <a:off x="1531337" y="350163"/>
                <a:ext cx="906779" cy="209883"/>
              </a:xfrm>
              <a:prstGeom prst="rect">
                <a:avLst/>
              </a:prstGeom>
            </p:spPr>
          </p:pic>
        </p:grpSp>
        <p:pic>
          <p:nvPicPr>
            <p:cNvPr id="22"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24448883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White BCM/TCH">
    <p:spTree>
      <p:nvGrpSpPr>
        <p:cNvPr id="1" name=""/>
        <p:cNvGrpSpPr/>
        <p:nvPr/>
      </p:nvGrpSpPr>
      <p:grpSpPr>
        <a:xfrm>
          <a:off x="0" y="0"/>
          <a:ext cx="0" cy="0"/>
          <a:chOff x="0" y="0"/>
          <a:chExt cx="0" cy="0"/>
        </a:xfrm>
      </p:grpSpPr>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sp>
        <p:nvSpPr>
          <p:cNvPr id="3" name="Content Placeholder 2"/>
          <p:cNvSpPr>
            <a:spLocks noGrp="1"/>
          </p:cNvSpPr>
          <p:nvPr>
            <p:ph idx="1"/>
          </p:nvPr>
        </p:nvSpPr>
        <p:spPr>
          <a:xfrm>
            <a:off x="575736" y="1802906"/>
            <a:ext cx="11040533" cy="3601370"/>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9" name="Picture 8"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3" cstate="print"/>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3" cstate="print"/>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7010223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sp>
        <p:nvSpPr>
          <p:cNvPr id="124" name="Rectangle"/>
          <p:cNvSpPr/>
          <p:nvPr/>
        </p:nvSpPr>
        <p:spPr>
          <a:xfrm>
            <a:off x="0" y="5962506"/>
            <a:ext cx="12192000" cy="908194"/>
          </a:xfrm>
          <a:prstGeom prst="rect">
            <a:avLst/>
          </a:prstGeom>
          <a:solidFill>
            <a:srgbClr val="3E4E8D"/>
          </a:solidFill>
          <a:ln w="12700">
            <a:miter lim="400000"/>
          </a:ln>
          <a:effectLst>
            <a:outerShdw blurRad="38100" dist="23000" dir="5400000" rotWithShape="0">
              <a:srgbClr val="000000">
                <a:alpha val="35000"/>
              </a:srgbClr>
            </a:outerShdw>
          </a:effectLst>
        </p:spPr>
        <p:txBody>
          <a:bodyPr lIns="45718" tIns="45718" rIns="45718" bIns="45718" anchor="ctr"/>
          <a:lstStyle/>
          <a:p>
            <a:pPr>
              <a:defRPr sz="1800">
                <a:solidFill>
                  <a:srgbClr val="1BA2AC"/>
                </a:solidFill>
                <a:latin typeface="Hind Regular"/>
                <a:ea typeface="Hind Regular"/>
                <a:cs typeface="Hind Regular"/>
                <a:sym typeface="Hind Regular"/>
              </a:defRPr>
            </a:pPr>
            <a:endParaRPr/>
          </a:p>
        </p:txBody>
      </p:sp>
      <p:pic>
        <p:nvPicPr>
          <p:cNvPr id="3" name="Picture 2">
            <a:extLst>
              <a:ext uri="{FF2B5EF4-FFF2-40B4-BE49-F238E27FC236}">
                <a16:creationId xmlns:a16="http://schemas.microsoft.com/office/drawing/2014/main" id="{5DBBAD7F-97A3-A549-8DD2-3F48709C6F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35EDA66-8AEA-0C45-845A-C94FE84991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71" y="781955"/>
            <a:ext cx="6433458" cy="4288971"/>
          </a:xfrm>
          <a:prstGeom prst="rect">
            <a:avLst/>
          </a:prstGeom>
        </p:spPr>
      </p:pic>
    </p:spTree>
    <p:extLst>
      <p:ext uri="{BB962C8B-B14F-4D97-AF65-F5344CB8AC3E}">
        <p14:creationId xmlns:p14="http://schemas.microsoft.com/office/powerpoint/2010/main" val="122458059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p:cSld name="Title">
    <p:spTree>
      <p:nvGrpSpPr>
        <p:cNvPr id="1" name="Shape 15"/>
        <p:cNvGrpSpPr/>
        <p:nvPr/>
      </p:nvGrpSpPr>
      <p:grpSpPr>
        <a:xfrm>
          <a:off x="0" y="0"/>
          <a:ext cx="0" cy="0"/>
          <a:chOff x="0" y="0"/>
          <a:chExt cx="0" cy="0"/>
        </a:xfrm>
      </p:grpSpPr>
      <p:sp>
        <p:nvSpPr>
          <p:cNvPr id="16" name="Google Shape;16;p4"/>
          <p:cNvSpPr txBox="1">
            <a:spLocks noGrp="1"/>
          </p:cNvSpPr>
          <p:nvPr>
            <p:ph type="title"/>
          </p:nvPr>
        </p:nvSpPr>
        <p:spPr>
          <a:xfrm>
            <a:off x="548640" y="228600"/>
            <a:ext cx="10972800" cy="457200"/>
          </a:xfrm>
          <a:prstGeom prst="rect">
            <a:avLst/>
          </a:prstGeom>
          <a:noFill/>
          <a:ln>
            <a:noFill/>
          </a:ln>
        </p:spPr>
        <p:txBody>
          <a:bodyPr spcFirstLastPara="1" wrap="square" lIns="34275" tIns="34275" rIns="34275" bIns="34275" anchor="ctr" anchorCtr="0">
            <a:noAutofit/>
          </a:bodyPr>
          <a:lstStyle>
            <a:lvl1pPr lvl="0" algn="l">
              <a:lnSpc>
                <a:spcPct val="100000"/>
              </a:lnSpc>
              <a:spcBef>
                <a:spcPts val="0"/>
              </a:spcBef>
              <a:spcAft>
                <a:spcPts val="0"/>
              </a:spcAft>
              <a:buClr>
                <a:srgbClr val="3E4E8D"/>
              </a:buClr>
              <a:buSzPts val="1400"/>
              <a:buNone/>
              <a:defRPr/>
            </a:lvl1pPr>
            <a:lvl2pPr lvl="1" algn="l">
              <a:lnSpc>
                <a:spcPct val="100000"/>
              </a:lnSpc>
              <a:spcBef>
                <a:spcPts val="0"/>
              </a:spcBef>
              <a:spcAft>
                <a:spcPts val="0"/>
              </a:spcAft>
              <a:buClr>
                <a:srgbClr val="1BA2AC"/>
              </a:buClr>
              <a:buSzPts val="1400"/>
              <a:buNone/>
              <a:defRPr/>
            </a:lvl2pPr>
            <a:lvl3pPr lvl="2" algn="l">
              <a:lnSpc>
                <a:spcPct val="100000"/>
              </a:lnSpc>
              <a:spcBef>
                <a:spcPts val="0"/>
              </a:spcBef>
              <a:spcAft>
                <a:spcPts val="0"/>
              </a:spcAft>
              <a:buClr>
                <a:srgbClr val="1BA2AC"/>
              </a:buClr>
              <a:buSzPts val="1400"/>
              <a:buNone/>
              <a:defRPr/>
            </a:lvl3pPr>
            <a:lvl4pPr lvl="3" algn="l">
              <a:lnSpc>
                <a:spcPct val="100000"/>
              </a:lnSpc>
              <a:spcBef>
                <a:spcPts val="0"/>
              </a:spcBef>
              <a:spcAft>
                <a:spcPts val="0"/>
              </a:spcAft>
              <a:buClr>
                <a:srgbClr val="1BA2AC"/>
              </a:buClr>
              <a:buSzPts val="1400"/>
              <a:buNone/>
              <a:defRPr/>
            </a:lvl4pPr>
            <a:lvl5pPr lvl="4" algn="l">
              <a:lnSpc>
                <a:spcPct val="100000"/>
              </a:lnSpc>
              <a:spcBef>
                <a:spcPts val="0"/>
              </a:spcBef>
              <a:spcAft>
                <a:spcPts val="0"/>
              </a:spcAft>
              <a:buClr>
                <a:srgbClr val="1BA2AC"/>
              </a:buClr>
              <a:buSzPts val="1400"/>
              <a:buNone/>
              <a:defRPr/>
            </a:lvl5pPr>
            <a:lvl6pPr lvl="5" algn="l">
              <a:lnSpc>
                <a:spcPct val="100000"/>
              </a:lnSpc>
              <a:spcBef>
                <a:spcPts val="0"/>
              </a:spcBef>
              <a:spcAft>
                <a:spcPts val="0"/>
              </a:spcAft>
              <a:buClr>
                <a:srgbClr val="1BA2AC"/>
              </a:buClr>
              <a:buSzPts val="1400"/>
              <a:buNone/>
              <a:defRPr/>
            </a:lvl6pPr>
            <a:lvl7pPr lvl="6" algn="l">
              <a:lnSpc>
                <a:spcPct val="100000"/>
              </a:lnSpc>
              <a:spcBef>
                <a:spcPts val="0"/>
              </a:spcBef>
              <a:spcAft>
                <a:spcPts val="0"/>
              </a:spcAft>
              <a:buClr>
                <a:srgbClr val="1BA2AC"/>
              </a:buClr>
              <a:buSzPts val="1400"/>
              <a:buNone/>
              <a:defRPr/>
            </a:lvl7pPr>
            <a:lvl8pPr lvl="7" algn="l">
              <a:lnSpc>
                <a:spcPct val="100000"/>
              </a:lnSpc>
              <a:spcBef>
                <a:spcPts val="0"/>
              </a:spcBef>
              <a:spcAft>
                <a:spcPts val="0"/>
              </a:spcAft>
              <a:buClr>
                <a:srgbClr val="1BA2AC"/>
              </a:buClr>
              <a:buSzPts val="1400"/>
              <a:buNone/>
              <a:defRPr/>
            </a:lvl8pPr>
            <a:lvl9pPr lvl="8" algn="l">
              <a:lnSpc>
                <a:spcPct val="100000"/>
              </a:lnSpc>
              <a:spcBef>
                <a:spcPts val="0"/>
              </a:spcBef>
              <a:spcAft>
                <a:spcPts val="0"/>
              </a:spcAft>
              <a:buClr>
                <a:srgbClr val="1BA2AC"/>
              </a:buClr>
              <a:buSzPts val="1400"/>
              <a:buNone/>
              <a:defRPr/>
            </a:lvl9pPr>
          </a:lstStyle>
          <a:p>
            <a:endParaRPr/>
          </a:p>
        </p:txBody>
      </p:sp>
    </p:spTree>
    <p:extLst>
      <p:ext uri="{BB962C8B-B14F-4D97-AF65-F5344CB8AC3E}">
        <p14:creationId xmlns:p14="http://schemas.microsoft.com/office/powerpoint/2010/main" val="305391463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4" name="Title Text">
            <a:extLst>
              <a:ext uri="{FF2B5EF4-FFF2-40B4-BE49-F238E27FC236}">
                <a16:creationId xmlns:a16="http://schemas.microsoft.com/office/drawing/2014/main" id="{AA6BC4EE-9385-8048-94F7-C8E9B0881855}"/>
              </a:ext>
            </a:extLst>
          </p:cNvPr>
          <p:cNvSpPr txBox="1">
            <a:spLocks noGrp="1"/>
          </p:cNvSpPr>
          <p:nvPr>
            <p:ph type="title"/>
          </p:nvPr>
        </p:nvSpPr>
        <p:spPr>
          <a:xfrm>
            <a:off x="548640" y="228600"/>
            <a:ext cx="10972800" cy="457200"/>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328797108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sp>
        <p:nvSpPr>
          <p:cNvPr id="124" name="Rectangle"/>
          <p:cNvSpPr/>
          <p:nvPr/>
        </p:nvSpPr>
        <p:spPr>
          <a:xfrm>
            <a:off x="0" y="5962506"/>
            <a:ext cx="12192000" cy="908194"/>
          </a:xfrm>
          <a:prstGeom prst="rect">
            <a:avLst/>
          </a:prstGeom>
          <a:solidFill>
            <a:srgbClr val="3E4E8D"/>
          </a:solidFill>
          <a:ln w="12700">
            <a:miter lim="400000"/>
          </a:ln>
          <a:effectLst>
            <a:outerShdw blurRad="38100" dist="23000" dir="5400000" rotWithShape="0">
              <a:srgbClr val="000000">
                <a:alpha val="35000"/>
              </a:srgbClr>
            </a:outerShdw>
          </a:effectLst>
        </p:spPr>
        <p:txBody>
          <a:bodyPr lIns="45718" tIns="45718" rIns="45718" bIns="45718" anchor="ctr"/>
          <a:lstStyle/>
          <a:p>
            <a:pPr>
              <a:defRPr sz="1800">
                <a:solidFill>
                  <a:srgbClr val="1BA2AC"/>
                </a:solidFill>
                <a:latin typeface="Hind Regular"/>
                <a:ea typeface="Hind Regular"/>
                <a:cs typeface="Hind Regular"/>
                <a:sym typeface="Hind Regular"/>
              </a:defRPr>
            </a:pPr>
            <a:endParaRPr/>
          </a:p>
        </p:txBody>
      </p:sp>
      <p:pic>
        <p:nvPicPr>
          <p:cNvPr id="3" name="Picture 2">
            <a:extLst>
              <a:ext uri="{FF2B5EF4-FFF2-40B4-BE49-F238E27FC236}">
                <a16:creationId xmlns:a16="http://schemas.microsoft.com/office/drawing/2014/main" id="{5DBBAD7F-97A3-A549-8DD2-3F48709C6F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35EDA66-8AEA-0C45-845A-C94FE84991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71" y="781955"/>
            <a:ext cx="6433458" cy="4288971"/>
          </a:xfrm>
          <a:prstGeom prst="rect">
            <a:avLst/>
          </a:prstGeom>
        </p:spPr>
      </p:pic>
    </p:spTree>
    <p:extLst>
      <p:ext uri="{BB962C8B-B14F-4D97-AF65-F5344CB8AC3E}">
        <p14:creationId xmlns:p14="http://schemas.microsoft.com/office/powerpoint/2010/main" val="1484069995"/>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06400" y="2057400"/>
            <a:ext cx="11379200" cy="2590800"/>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a:t>Click to edit Master text styles</a:t>
            </a:r>
          </a:p>
          <a:p>
            <a:pPr lvl="1"/>
            <a:r>
              <a:rPr lang="en-US"/>
              <a:t>Second level</a:t>
            </a:r>
          </a:p>
          <a:p>
            <a:pPr lvl="2"/>
            <a:r>
              <a:rPr lang="en-US"/>
              <a:t>Third level</a:t>
            </a:r>
          </a:p>
        </p:txBody>
      </p:sp>
      <p:sp>
        <p:nvSpPr>
          <p:cNvPr id="3" name="TextBox 2"/>
          <p:cNvSpPr txBox="1"/>
          <p:nvPr userDrawn="1"/>
        </p:nvSpPr>
        <p:spPr>
          <a:xfrm>
            <a:off x="10418131" y="851976"/>
            <a:ext cx="184731" cy="341632"/>
          </a:xfrm>
          <a:prstGeom prst="rect">
            <a:avLst/>
          </a:prstGeom>
          <a:noFill/>
        </p:spPr>
        <p:txBody>
          <a:bodyPr wrap="none" rtlCol="0">
            <a:spAutoFit/>
          </a:bodyPr>
          <a:lstStyle/>
          <a:p>
            <a:pPr defTabSz="457200">
              <a:lnSpc>
                <a:spcPct val="90000"/>
              </a:lnSpc>
            </a:pPr>
            <a:endParaRPr lang="en-US" sz="1800" dirty="0">
              <a:solidFill>
                <a:srgbClr val="696253"/>
              </a:solidFill>
            </a:endParaRPr>
          </a:p>
        </p:txBody>
      </p:sp>
    </p:spTree>
    <p:extLst>
      <p:ext uri="{BB962C8B-B14F-4D97-AF65-F5344CB8AC3E}">
        <p14:creationId xmlns:p14="http://schemas.microsoft.com/office/powerpoint/2010/main" val="3824787753"/>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Slide BCM/TCH">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31918-0129-133C-991F-8260EF919F3E}"/>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EBF31918-0129-133C-991F-8260EF919F3E}"/>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pic>
        <p:nvPicPr>
          <p:cNvPr id="38" name="Picture 37">
            <a:extLst>
              <a:ext uri="{FF2B5EF4-FFF2-40B4-BE49-F238E27FC236}">
                <a16:creationId xmlns:a16="http://schemas.microsoft.com/office/drawing/2014/main" id="{94D495FE-242D-CD84-88ED-56A5AF718901}"/>
              </a:ext>
            </a:extLst>
          </p:cNvPr>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9285883" y="2172920"/>
            <a:ext cx="2919709" cy="4328160"/>
          </a:xfrm>
          <a:prstGeom prst="rect">
            <a:avLst/>
          </a:prstGeom>
        </p:spPr>
      </p:pic>
      <p:sp>
        <p:nvSpPr>
          <p:cNvPr id="10" name="Rectangle 9">
            <a:extLst>
              <a:ext uri="{FF2B5EF4-FFF2-40B4-BE49-F238E27FC236}">
                <a16:creationId xmlns:a16="http://schemas.microsoft.com/office/drawing/2014/main" id="{5CCD0CB1-ADFD-CBE6-31D9-7BB39C63FA07}"/>
              </a:ext>
            </a:extLst>
          </p:cNvPr>
          <p:cNvSpPr/>
          <p:nvPr userDrawn="1"/>
        </p:nvSpPr>
        <p:spPr>
          <a:xfrm flipH="1" flipV="1">
            <a:off x="0" y="-11291"/>
            <a:ext cx="9290611" cy="68579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D" sz="1800"/>
          </a:p>
        </p:txBody>
      </p:sp>
      <p:sp>
        <p:nvSpPr>
          <p:cNvPr id="47" name="Rectangle 46">
            <a:extLst>
              <a:ext uri="{FF2B5EF4-FFF2-40B4-BE49-F238E27FC236}">
                <a16:creationId xmlns:a16="http://schemas.microsoft.com/office/drawing/2014/main" id="{23AC07F4-C659-A97E-E9AE-8C9CE02C07B2}"/>
              </a:ext>
            </a:extLst>
          </p:cNvPr>
          <p:cNvSpPr/>
          <p:nvPr userDrawn="1"/>
        </p:nvSpPr>
        <p:spPr>
          <a:xfrm>
            <a:off x="9283767" y="2"/>
            <a:ext cx="2921825" cy="6857998"/>
          </a:xfrm>
          <a:prstGeom prst="rect">
            <a:avLst/>
          </a:prstGeom>
          <a:solidFill>
            <a:schemeClr val="tx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64" name="Rectangle 63">
            <a:extLst>
              <a:ext uri="{FF2B5EF4-FFF2-40B4-BE49-F238E27FC236}">
                <a16:creationId xmlns:a16="http://schemas.microsoft.com/office/drawing/2014/main" id="{3DAC5F80-AB3D-150D-DBC0-630B15B67EBC}"/>
              </a:ext>
            </a:extLst>
          </p:cNvPr>
          <p:cNvSpPr/>
          <p:nvPr userDrawn="1"/>
        </p:nvSpPr>
        <p:spPr>
          <a:xfrm>
            <a:off x="0" y="-56687"/>
            <a:ext cx="9287995" cy="217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2" name="Title 1"/>
          <p:cNvSpPr>
            <a:spLocks noGrp="1"/>
          </p:cNvSpPr>
          <p:nvPr userDrawn="1">
            <p:ph type="ctrTitle"/>
          </p:nvPr>
        </p:nvSpPr>
        <p:spPr>
          <a:xfrm>
            <a:off x="575733" y="3344122"/>
            <a:ext cx="5010979" cy="1221040"/>
          </a:xfrm>
          <a:prstGeom prst="rect">
            <a:avLst/>
          </a:prstGeom>
        </p:spPr>
        <p:txBody>
          <a:bodyPr vert="horz" wrap="square" anchor="t">
            <a:spAutoFit/>
          </a:bodyPr>
          <a:lstStyle>
            <a:lvl1pPr algn="l">
              <a:defRPr sz="44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575733" y="2854854"/>
            <a:ext cx="5010979" cy="249299"/>
          </a:xfrm>
          <a:prstGeom prst="rect">
            <a:avLst/>
          </a:prstGeom>
        </p:spPr>
        <p:txBody>
          <a:bodyPr wrap="square">
            <a:spAutoFit/>
          </a:bodyPr>
          <a:lstStyle>
            <a:lvl1pPr marL="0" indent="0" algn="l">
              <a:buNone/>
              <a:defRPr sz="18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ivision of</a:t>
            </a:r>
          </a:p>
        </p:txBody>
      </p:sp>
      <p:sp>
        <p:nvSpPr>
          <p:cNvPr id="21" name="Freeform: Shape 20">
            <a:extLst>
              <a:ext uri="{FF2B5EF4-FFF2-40B4-BE49-F238E27FC236}">
                <a16:creationId xmlns:a16="http://schemas.microsoft.com/office/drawing/2014/main" id="{96F69FCC-5E93-4F96-F4B8-6BEC091C9043}"/>
              </a:ext>
            </a:extLst>
          </p:cNvPr>
          <p:cNvSpPr/>
          <p:nvPr userDrawn="1"/>
        </p:nvSpPr>
        <p:spPr>
          <a:xfrm rot="7145101" flipH="1">
            <a:off x="6645306" y="5017256"/>
            <a:ext cx="4712400" cy="4711572"/>
          </a:xfrm>
          <a:custGeom>
            <a:avLst/>
            <a:gdLst>
              <a:gd name="connsiteX0" fmla="*/ 4029075 w 8058150"/>
              <a:gd name="connsiteY0" fmla="*/ 0 h 8058150"/>
              <a:gd name="connsiteX1" fmla="*/ 8058150 w 8058150"/>
              <a:gd name="connsiteY1" fmla="*/ 4029075 h 8058150"/>
              <a:gd name="connsiteX2" fmla="*/ 4029075 w 8058150"/>
              <a:gd name="connsiteY2" fmla="*/ 8058150 h 8058150"/>
              <a:gd name="connsiteX3" fmla="*/ 0 w 8058150"/>
              <a:gd name="connsiteY3" fmla="*/ 4029075 h 8058150"/>
              <a:gd name="connsiteX4" fmla="*/ 4029075 w 8058150"/>
              <a:gd name="connsiteY4" fmla="*/ 0 h 8058150"/>
              <a:gd name="connsiteX5" fmla="*/ 4029075 w 8058150"/>
              <a:gd name="connsiteY5" fmla="*/ 1447800 h 8058150"/>
              <a:gd name="connsiteX6" fmla="*/ 1447800 w 8058150"/>
              <a:gd name="connsiteY6" fmla="*/ 4029075 h 8058150"/>
              <a:gd name="connsiteX7" fmla="*/ 4029075 w 8058150"/>
              <a:gd name="connsiteY7" fmla="*/ 6610350 h 8058150"/>
              <a:gd name="connsiteX8" fmla="*/ 6610350 w 8058150"/>
              <a:gd name="connsiteY8" fmla="*/ 4029075 h 8058150"/>
              <a:gd name="connsiteX9" fmla="*/ 4029075 w 8058150"/>
              <a:gd name="connsiteY9" fmla="*/ 1447800 h 80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8150" h="8058150">
                <a:moveTo>
                  <a:pt x="4029075" y="0"/>
                </a:moveTo>
                <a:cubicBezTo>
                  <a:pt x="6254272" y="0"/>
                  <a:pt x="8058150" y="1803878"/>
                  <a:pt x="8058150" y="4029075"/>
                </a:cubicBezTo>
                <a:cubicBezTo>
                  <a:pt x="8058150" y="6254272"/>
                  <a:pt x="6254272" y="8058150"/>
                  <a:pt x="4029075" y="8058150"/>
                </a:cubicBezTo>
                <a:cubicBezTo>
                  <a:pt x="1803878" y="8058150"/>
                  <a:pt x="0" y="6254272"/>
                  <a:pt x="0" y="4029075"/>
                </a:cubicBezTo>
                <a:cubicBezTo>
                  <a:pt x="0" y="1803878"/>
                  <a:pt x="1803878" y="0"/>
                  <a:pt x="4029075" y="0"/>
                </a:cubicBezTo>
                <a:close/>
                <a:moveTo>
                  <a:pt x="4029075" y="1447800"/>
                </a:moveTo>
                <a:cubicBezTo>
                  <a:pt x="2603476" y="1447800"/>
                  <a:pt x="1447800" y="2603476"/>
                  <a:pt x="1447800" y="4029075"/>
                </a:cubicBezTo>
                <a:cubicBezTo>
                  <a:pt x="1447800" y="5454674"/>
                  <a:pt x="2603476" y="6610350"/>
                  <a:pt x="4029075" y="6610350"/>
                </a:cubicBezTo>
                <a:cubicBezTo>
                  <a:pt x="5454674" y="6610350"/>
                  <a:pt x="6610350" y="5454674"/>
                  <a:pt x="6610350" y="4029075"/>
                </a:cubicBezTo>
                <a:cubicBezTo>
                  <a:pt x="6610350" y="2603476"/>
                  <a:pt x="5454674" y="1447800"/>
                  <a:pt x="4029075" y="1447800"/>
                </a:cubicBezTo>
                <a:close/>
              </a:path>
            </a:pathLst>
          </a:custGeom>
          <a:gradFill>
            <a:gsLst>
              <a:gs pos="0">
                <a:schemeClr val="accent1">
                  <a:lumMod val="5000"/>
                  <a:lumOff val="95000"/>
                  <a:alpha val="30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56" name="Rectangle 55">
            <a:extLst>
              <a:ext uri="{FF2B5EF4-FFF2-40B4-BE49-F238E27FC236}">
                <a16:creationId xmlns:a16="http://schemas.microsoft.com/office/drawing/2014/main" id="{DF3D0DEF-90CF-0AC5-6EEF-8F2CF5FF9044}"/>
              </a:ext>
            </a:extLst>
          </p:cNvPr>
          <p:cNvSpPr/>
          <p:nvPr userDrawn="1"/>
        </p:nvSpPr>
        <p:spPr>
          <a:xfrm>
            <a:off x="9288000" y="2124666"/>
            <a:ext cx="2904000" cy="4571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800"/>
          </a:p>
        </p:txBody>
      </p:sp>
      <p:cxnSp>
        <p:nvCxnSpPr>
          <p:cNvPr id="66" name="Straight Connector 65">
            <a:extLst>
              <a:ext uri="{FF2B5EF4-FFF2-40B4-BE49-F238E27FC236}">
                <a16:creationId xmlns:a16="http://schemas.microsoft.com/office/drawing/2014/main" id="{112DA193-0F11-9C33-153E-6F1C6329BD7D}"/>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8034CE66-3063-B784-8A95-FF5CFE71B2B8}"/>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447E53E-2C5D-E89D-D73C-94D8DE6779E9}"/>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
        <p:nvSpPr>
          <p:cNvPr id="79" name="Text Placeholder 78">
            <a:extLst>
              <a:ext uri="{FF2B5EF4-FFF2-40B4-BE49-F238E27FC236}">
                <a16:creationId xmlns:a16="http://schemas.microsoft.com/office/drawing/2014/main" id="{7CFF9914-4550-7DF8-8420-F096A18B75C5}"/>
              </a:ext>
            </a:extLst>
          </p:cNvPr>
          <p:cNvSpPr>
            <a:spLocks noGrp="1"/>
          </p:cNvSpPr>
          <p:nvPr userDrawn="1">
            <p:ph type="body" sz="quarter" idx="10" hasCustomPrompt="1"/>
          </p:nvPr>
        </p:nvSpPr>
        <p:spPr>
          <a:xfrm>
            <a:off x="575733" y="5768424"/>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a:t>Presented by:</a:t>
            </a:r>
          </a:p>
        </p:txBody>
      </p:sp>
      <p:sp>
        <p:nvSpPr>
          <p:cNvPr id="80" name="Text Placeholder 78">
            <a:extLst>
              <a:ext uri="{FF2B5EF4-FFF2-40B4-BE49-F238E27FC236}">
                <a16:creationId xmlns:a16="http://schemas.microsoft.com/office/drawing/2014/main" id="{F84D9B9F-C346-FF36-69F1-4D2443AE68D0}"/>
              </a:ext>
            </a:extLst>
          </p:cNvPr>
          <p:cNvSpPr>
            <a:spLocks noGrp="1"/>
          </p:cNvSpPr>
          <p:nvPr userDrawn="1">
            <p:ph type="body" sz="quarter" idx="11" hasCustomPrompt="1"/>
          </p:nvPr>
        </p:nvSpPr>
        <p:spPr>
          <a:xfrm>
            <a:off x="575733" y="6008817"/>
            <a:ext cx="4646083" cy="221599"/>
          </a:xfrm>
          <a:prstGeom prst="rect">
            <a:avLst/>
          </a:prstGeom>
        </p:spPr>
        <p:txBody>
          <a:bodyPr vert="horz" wrap="square" lIns="0" tIns="0" rIns="0" bIns="0" rtlCol="0">
            <a:spAutoFit/>
          </a:bodyPr>
          <a:lstStyle>
            <a:lvl1pPr marL="0" indent="0">
              <a:buNone/>
              <a:defRPr lang="en-US" sz="1600" i="0" dirty="0" smtClean="0">
                <a:solidFill>
                  <a:schemeClr val="bg1"/>
                </a:solidFill>
              </a:defRPr>
            </a:lvl1pPr>
            <a:lvl2pPr>
              <a:defRPr lang="en-US" sz="2000" dirty="0" smtClean="0"/>
            </a:lvl2pPr>
            <a:lvl3pPr>
              <a:defRPr lang="en-US" sz="1800" dirty="0" smtClean="0"/>
            </a:lvl3pPr>
            <a:lvl4pPr>
              <a:defRPr lang="en-US" sz="1600" dirty="0" smtClean="0"/>
            </a:lvl4pPr>
            <a:lvl5pPr>
              <a:defRPr lang="en-ID" sz="1600" dirty="0"/>
            </a:lvl5pPr>
          </a:lstStyle>
          <a:p>
            <a:pPr marL="228600" lvl="0" indent="-228600"/>
            <a:r>
              <a:rPr lang="en-US"/>
              <a:t>Date</a:t>
            </a:r>
          </a:p>
        </p:txBody>
      </p:sp>
      <p:sp>
        <p:nvSpPr>
          <p:cNvPr id="13" name="Picture Placeholder 12">
            <a:extLst>
              <a:ext uri="{FF2B5EF4-FFF2-40B4-BE49-F238E27FC236}">
                <a16:creationId xmlns:a16="http://schemas.microsoft.com/office/drawing/2014/main" id="{A5482A8E-639B-55B9-5CDF-89707C4092DF}"/>
              </a:ext>
            </a:extLst>
          </p:cNvPr>
          <p:cNvSpPr>
            <a:spLocks noGrp="1"/>
          </p:cNvSpPr>
          <p:nvPr>
            <p:ph type="pic" sz="quarter" idx="12"/>
          </p:nvPr>
        </p:nvSpPr>
        <p:spPr>
          <a:xfrm>
            <a:off x="9285884" y="-7938"/>
            <a:ext cx="2904000" cy="2129251"/>
          </a:xfrm>
        </p:spPr>
        <p:txBody>
          <a:bodyPr anchor="ctr"/>
          <a:lstStyle>
            <a:lvl1pPr algn="ctr">
              <a:defRPr>
                <a:solidFill>
                  <a:schemeClr val="bg1"/>
                </a:solidFill>
              </a:defRPr>
            </a:lvl1pPr>
          </a:lstStyle>
          <a:p>
            <a:endParaRPr lang="en-US"/>
          </a:p>
        </p:txBody>
      </p:sp>
      <p:pic>
        <p:nvPicPr>
          <p:cNvPr id="17" name="Picture 16"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4688406" y="678611"/>
            <a:ext cx="1547841" cy="1015102"/>
          </a:xfrm>
          <a:prstGeom prst="rect">
            <a:avLst/>
          </a:prstGeom>
        </p:spPr>
      </p:pic>
      <p:cxnSp>
        <p:nvCxnSpPr>
          <p:cNvPr id="18" name="Straight Connector 17">
            <a:extLst>
              <a:ext uri="{FF2B5EF4-FFF2-40B4-BE49-F238E27FC236}">
                <a16:creationId xmlns:a16="http://schemas.microsoft.com/office/drawing/2014/main" id="{9D6AC115-8997-0ACB-8E44-65EB7F2B2F1B}"/>
              </a:ext>
            </a:extLst>
          </p:cNvPr>
          <p:cNvCxnSpPr>
            <a:cxnSpLocks/>
          </p:cNvCxnSpPr>
          <p:nvPr userDrawn="1"/>
        </p:nvCxnSpPr>
        <p:spPr>
          <a:xfrm>
            <a:off x="4299235" y="1042547"/>
            <a:ext cx="0" cy="552761"/>
          </a:xfrm>
          <a:prstGeom prst="line">
            <a:avLst/>
          </a:prstGeom>
          <a:ln w="635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grpSp>
        <p:nvGrpSpPr>
          <p:cNvPr id="19" name="Group 18">
            <a:extLst>
              <a:ext uri="{FF2B5EF4-FFF2-40B4-BE49-F238E27FC236}">
                <a16:creationId xmlns:a16="http://schemas.microsoft.com/office/drawing/2014/main" id="{169A234B-2F89-D878-A2E4-C1DB0DE0CD2F}"/>
              </a:ext>
            </a:extLst>
          </p:cNvPr>
          <p:cNvGrpSpPr/>
          <p:nvPr userDrawn="1"/>
        </p:nvGrpSpPr>
        <p:grpSpPr>
          <a:xfrm>
            <a:off x="603792" y="812800"/>
            <a:ext cx="3306273" cy="880913"/>
            <a:chOff x="867628" y="426344"/>
            <a:chExt cx="1917483" cy="510888"/>
          </a:xfrm>
        </p:grpSpPr>
        <p:grpSp>
          <p:nvGrpSpPr>
            <p:cNvPr id="20" name="Group 1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23" name="Picture 22">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7"/>
              <a:srcRect t="-1" r="42158" b="17409"/>
              <a:stretch/>
            </p:blipFill>
            <p:spPr>
              <a:xfrm>
                <a:off x="1485617" y="160329"/>
                <a:ext cx="1299494" cy="209883"/>
              </a:xfrm>
              <a:prstGeom prst="rect">
                <a:avLst/>
              </a:prstGeom>
            </p:spPr>
          </p:pic>
          <p:pic>
            <p:nvPicPr>
              <p:cNvPr id="24" name="Picture 23">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7"/>
              <a:srcRect l="57841" t="-1" r="1797" b="17409"/>
              <a:stretch/>
            </p:blipFill>
            <p:spPr>
              <a:xfrm>
                <a:off x="1531337" y="350163"/>
                <a:ext cx="906779" cy="209883"/>
              </a:xfrm>
              <a:prstGeom prst="rect">
                <a:avLst/>
              </a:prstGeom>
            </p:spPr>
          </p:pic>
        </p:grpSp>
        <p:pic>
          <p:nvPicPr>
            <p:cNvPr id="22"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24448883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White BCM/TCH">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65D3F8-36FD-D621-4C85-B94ADB156B7F}"/>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DF65D3F8-36FD-D621-4C85-B94ADB156B7F}"/>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sp>
        <p:nvSpPr>
          <p:cNvPr id="3" name="Content Placeholder 2"/>
          <p:cNvSpPr>
            <a:spLocks noGrp="1"/>
          </p:cNvSpPr>
          <p:nvPr>
            <p:ph idx="1"/>
          </p:nvPr>
        </p:nvSpPr>
        <p:spPr>
          <a:xfrm>
            <a:off x="575736" y="1802906"/>
            <a:ext cx="11040533" cy="3601370"/>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9" name="Picture 8"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7010223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E7C5D27-8D84-D240-5AD2-590147417EC7}"/>
              </a:ext>
            </a:extLst>
          </p:cNvPr>
          <p:cNvSpPr>
            <a:spLocks noGrp="1"/>
          </p:cNvSpPr>
          <p:nvPr>
            <p:ph type="ctrTitle" hasCustomPrompt="1"/>
          </p:nvPr>
        </p:nvSpPr>
        <p:spPr>
          <a:xfrm>
            <a:off x="838200" y="817220"/>
            <a:ext cx="6175917" cy="3150604"/>
          </a:xfrm>
          <a:prstGeom prst="rect">
            <a:avLst/>
          </a:prstGeom>
        </p:spPr>
        <p:txBody>
          <a:bodyPr anchor="b"/>
          <a:lstStyle>
            <a:lvl1pPr algn="l">
              <a:defRPr sz="6000" b="1">
                <a:solidFill>
                  <a:schemeClr val="tx1"/>
                </a:solidFill>
                <a:latin typeface="Arial" panose="020B0604020202020204" pitchFamily="34" charset="0"/>
                <a:cs typeface="Arial" panose="020B0604020202020204" pitchFamily="34" charset="0"/>
              </a:defRPr>
            </a:lvl1pPr>
          </a:lstStyle>
          <a:p>
            <a:r>
              <a:rPr lang="en-US"/>
              <a:t>Title</a:t>
            </a:r>
          </a:p>
        </p:txBody>
      </p:sp>
      <p:pic>
        <p:nvPicPr>
          <p:cNvPr id="3" name="Picture 2">
            <a:extLst>
              <a:ext uri="{FF2B5EF4-FFF2-40B4-BE49-F238E27FC236}">
                <a16:creationId xmlns:a16="http://schemas.microsoft.com/office/drawing/2014/main" id="{EDE9A8F4-2614-7A83-8E39-4E16DB54406E}"/>
              </a:ext>
            </a:extLst>
          </p:cNvPr>
          <p:cNvPicPr>
            <a:picLocks noChangeAspect="1"/>
          </p:cNvPicPr>
          <p:nvPr userDrawn="1"/>
        </p:nvPicPr>
        <p:blipFill>
          <a:blip r:embed="rId3"/>
          <a:srcRect/>
          <a:stretch/>
        </p:blipFill>
        <p:spPr>
          <a:xfrm>
            <a:off x="-4009914" y="4020149"/>
            <a:ext cx="10721547" cy="601539"/>
          </a:xfrm>
          <a:prstGeom prst="rect">
            <a:avLst/>
          </a:prstGeom>
        </p:spPr>
      </p:pic>
      <p:sp>
        <p:nvSpPr>
          <p:cNvPr id="8" name="Subtitle 2">
            <a:extLst>
              <a:ext uri="{FF2B5EF4-FFF2-40B4-BE49-F238E27FC236}">
                <a16:creationId xmlns:a16="http://schemas.microsoft.com/office/drawing/2014/main" id="{2B1B4974-6B66-A354-1354-2E2ED1D94803}"/>
              </a:ext>
            </a:extLst>
          </p:cNvPr>
          <p:cNvSpPr>
            <a:spLocks noGrp="1"/>
          </p:cNvSpPr>
          <p:nvPr>
            <p:ph type="subTitle" idx="1" hasCustomPrompt="1"/>
          </p:nvPr>
        </p:nvSpPr>
        <p:spPr>
          <a:xfrm>
            <a:off x="838200" y="4072475"/>
            <a:ext cx="6029739" cy="496888"/>
          </a:xfrm>
          <a:prstGeom prst="rect">
            <a:avLst/>
          </a:prstGeom>
        </p:spPr>
        <p:txBody>
          <a:bodyPr>
            <a:normAutofit/>
          </a:bodyPr>
          <a:lstStyle>
            <a:lvl1pPr marL="0" indent="0" algn="l">
              <a:buNone/>
              <a:defRPr sz="2800" b="1">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a:t>
            </a:r>
          </a:p>
        </p:txBody>
      </p:sp>
      <p:sp>
        <p:nvSpPr>
          <p:cNvPr id="9" name="Text Placeholder 5">
            <a:extLst>
              <a:ext uri="{FF2B5EF4-FFF2-40B4-BE49-F238E27FC236}">
                <a16:creationId xmlns:a16="http://schemas.microsoft.com/office/drawing/2014/main" id="{FE7E9E68-3E69-D84B-C9FE-04ED602D0DFE}"/>
              </a:ext>
            </a:extLst>
          </p:cNvPr>
          <p:cNvSpPr>
            <a:spLocks noGrp="1"/>
          </p:cNvSpPr>
          <p:nvPr>
            <p:ph type="body" sz="quarter" idx="11" hasCustomPrompt="1"/>
          </p:nvPr>
        </p:nvSpPr>
        <p:spPr>
          <a:xfrm>
            <a:off x="838200" y="4726339"/>
            <a:ext cx="6029738" cy="838076"/>
          </a:xfrm>
          <a:prstGeom prst="rect">
            <a:avLst/>
          </a:prstGeom>
        </p:spPr>
        <p:txBody>
          <a:bodyPr>
            <a:normAutofit/>
          </a:bodyPr>
          <a:lstStyle>
            <a:lvl1pPr marL="0" indent="0">
              <a:buNone/>
              <a:defRPr sz="1800" b="1">
                <a:solidFill>
                  <a:schemeClr val="accent3"/>
                </a:solidFill>
                <a:latin typeface="Arial" panose="020B0604020202020204" pitchFamily="34" charset="0"/>
                <a:cs typeface="Arial" panose="020B0604020202020204" pitchFamily="34" charset="0"/>
              </a:defRPr>
            </a:lvl1pPr>
          </a:lstStyle>
          <a:p>
            <a:pPr lvl="0"/>
            <a:r>
              <a:rPr lang="en-US"/>
              <a:t>Credentials</a:t>
            </a:r>
          </a:p>
        </p:txBody>
      </p:sp>
    </p:spTree>
    <p:extLst>
      <p:ext uri="{BB962C8B-B14F-4D97-AF65-F5344CB8AC3E}">
        <p14:creationId xmlns:p14="http://schemas.microsoft.com/office/powerpoint/2010/main" val="25294782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BCM Only">
    <p:spTree>
      <p:nvGrpSpPr>
        <p:cNvPr id="1" name=""/>
        <p:cNvGrpSpPr/>
        <p:nvPr/>
      </p:nvGrpSpPr>
      <p:grpSpPr>
        <a:xfrm>
          <a:off x="0" y="0"/>
          <a:ext cx="0" cy="0"/>
          <a:chOff x="0" y="0"/>
          <a:chExt cx="0" cy="0"/>
        </a:xfrm>
      </p:grpSpPr>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sp>
        <p:nvSpPr>
          <p:cNvPr id="3" name="Content Placeholder 2"/>
          <p:cNvSpPr>
            <a:spLocks noGrp="1"/>
          </p:cNvSpPr>
          <p:nvPr>
            <p:ph idx="1"/>
          </p:nvPr>
        </p:nvSpPr>
        <p:spPr>
          <a:xfrm>
            <a:off x="575736" y="1776079"/>
            <a:ext cx="11040533" cy="4362945"/>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2" cstate="print"/>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2" cstate="print"/>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4917627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Slide BCM/TCH">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8" name="Picture 7"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9" name="Group 8">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0" name="Group 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2" name="Picture 11">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3" cstate="print"/>
              <a:srcRect t="-1" r="42158" b="17409"/>
              <a:stretch/>
            </p:blipFill>
            <p:spPr>
              <a:xfrm>
                <a:off x="1485617" y="160329"/>
                <a:ext cx="1299494" cy="209883"/>
              </a:xfrm>
              <a:prstGeom prst="rect">
                <a:avLst/>
              </a:prstGeom>
            </p:spPr>
          </p:pic>
          <p:pic>
            <p:nvPicPr>
              <p:cNvPr id="13" name="Picture 1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3" cstate="print"/>
              <a:srcRect l="57841" t="-1" r="1797" b="17409"/>
              <a:stretch/>
            </p:blipFill>
            <p:spPr>
              <a:xfrm>
                <a:off x="1531337" y="350163"/>
                <a:ext cx="906779" cy="209883"/>
              </a:xfrm>
              <a:prstGeom prst="rect">
                <a:avLst/>
              </a:prstGeom>
            </p:spPr>
          </p:pic>
        </p:grpSp>
        <p:pic>
          <p:nvPicPr>
            <p:cNvPr id="11"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8632627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BCM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16A96B-1D87-DCC9-CB48-E52CABB8CFC6}"/>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FE16A96B-1D87-DCC9-CB48-E52CABB8CFC6}"/>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sp>
        <p:nvSpPr>
          <p:cNvPr id="2" name="Title 1"/>
          <p:cNvSpPr>
            <a:spLocks noGrp="1"/>
          </p:cNvSpPr>
          <p:nvPr>
            <p:ph type="title"/>
          </p:nvPr>
        </p:nvSpPr>
        <p:spPr>
          <a:xfrm>
            <a:off x="575736" y="777678"/>
            <a:ext cx="11040533" cy="500458"/>
          </a:xfrm>
          <a:prstGeom prst="rect">
            <a:avLst/>
          </a:prstGeom>
        </p:spPr>
        <p:txBody>
          <a:bodyPr vert="horz" anchor="b"/>
          <a:lstStyle>
            <a:lvl1pPr>
              <a:defRPr sz="3600">
                <a:solidFill>
                  <a:schemeClr val="bg2"/>
                </a:solidFill>
              </a:defRPr>
            </a:lvl1pPr>
          </a:lstStyle>
          <a:p>
            <a:r>
              <a:rPr lang="en-US"/>
              <a:t>Click to edit Master title style</a:t>
            </a:r>
          </a:p>
        </p:txBody>
      </p:sp>
      <p:sp>
        <p:nvSpPr>
          <p:cNvPr id="3" name="Content Placeholder 2"/>
          <p:cNvSpPr>
            <a:spLocks noGrp="1"/>
          </p:cNvSpPr>
          <p:nvPr>
            <p:ph idx="1"/>
          </p:nvPr>
        </p:nvSpPr>
        <p:spPr>
          <a:xfrm>
            <a:off x="575736" y="1776079"/>
            <a:ext cx="11040533" cy="4362945"/>
          </a:xfrm>
          <a:prstGeom prst="rect">
            <a:avLst/>
          </a:prstGeom>
        </p:spPr>
        <p:txBody>
          <a:bodyPr>
            <a:normAutofit/>
          </a:bodyPr>
          <a:lstStyle>
            <a:lvl1pPr>
              <a:buClr>
                <a:schemeClr val="bg2"/>
              </a:buClr>
              <a:defRPr sz="2800"/>
            </a:lvl1pPr>
            <a:lvl2pPr>
              <a:buClr>
                <a:schemeClr val="bg2"/>
              </a:buClr>
              <a:defRPr sz="2400"/>
            </a:lvl2pPr>
            <a:lvl3pPr>
              <a:buClr>
                <a:schemeClr val="bg2"/>
              </a:buClr>
              <a:defRPr sz="2000"/>
            </a:lvl3pPr>
            <a:lvl4pPr>
              <a:buClr>
                <a:schemeClr val="bg2"/>
              </a:buClr>
              <a:defRPr sz="1800"/>
            </a:lvl4pPr>
            <a:lvl5pPr>
              <a:buClr>
                <a:schemeClr val="bg2"/>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2" name="Group 11">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4" name="Picture 13">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5"/>
              <a:srcRect t="-1" r="42158" b="17409"/>
              <a:stretch/>
            </p:blipFill>
            <p:spPr>
              <a:xfrm>
                <a:off x="1485617" y="160329"/>
                <a:ext cx="1299494" cy="209883"/>
              </a:xfrm>
              <a:prstGeom prst="rect">
                <a:avLst/>
              </a:prstGeom>
            </p:spPr>
          </p:pic>
          <p:pic>
            <p:nvPicPr>
              <p:cNvPr id="15" name="Picture 14">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5"/>
              <a:srcRect l="57841" t="-1" r="1797" b="17409"/>
              <a:stretch/>
            </p:blipFill>
            <p:spPr>
              <a:xfrm>
                <a:off x="1531337" y="350163"/>
                <a:ext cx="906779" cy="209883"/>
              </a:xfrm>
              <a:prstGeom prst="rect">
                <a:avLst/>
              </a:prstGeom>
            </p:spPr>
          </p:pic>
        </p:grpSp>
        <p:pic>
          <p:nvPicPr>
            <p:cNvPr id="13"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34917627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Slide BCM/TCH">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F89DAB-718E-BD39-4501-7B445E5D4638}"/>
              </a:ext>
            </a:extLst>
          </p:cNvPr>
          <p:cNvGraphicFramePr>
            <a:graphicFrameLocks noChangeAspect="1"/>
          </p:cNvGraphicFramePr>
          <p:nvPr userDrawn="1">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0DF89DAB-718E-BD39-4501-7B445E5D4638}"/>
                          </a:ext>
                        </a:extLst>
                      </p:cNvPr>
                      <p:cNvPicPr/>
                      <p:nvPr/>
                    </p:nvPicPr>
                    <p:blipFill>
                      <a:blip r:embed="rId4"/>
                      <a:stretch>
                        <a:fillRect/>
                      </a:stretch>
                    </p:blipFill>
                    <p:spPr>
                      <a:xfrm>
                        <a:off x="2120" y="1588"/>
                        <a:ext cx="2117"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398CD107-3899-FC6F-5F54-E78412AEF67B}"/>
              </a:ext>
            </a:extLst>
          </p:cNvPr>
          <p:cNvCxnSpPr>
            <a:cxnSpLocks/>
          </p:cNvCxnSpPr>
          <p:nvPr userDrawn="1"/>
        </p:nvCxnSpPr>
        <p:spPr>
          <a:xfrm flipH="1">
            <a:off x="-7" y="308499"/>
            <a:ext cx="57573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74D88E-08B5-ECD1-AE89-E2C1BD7EA1A0}"/>
              </a:ext>
            </a:extLst>
          </p:cNvPr>
          <p:cNvCxnSpPr>
            <a:cxnSpLocks/>
          </p:cNvCxnSpPr>
          <p:nvPr userDrawn="1"/>
        </p:nvCxnSpPr>
        <p:spPr>
          <a:xfrm flipH="1">
            <a:off x="-5" y="429790"/>
            <a:ext cx="383825"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D0EA855-FEF0-EA73-B9EA-8F3D2D5BFD75}"/>
              </a:ext>
            </a:extLst>
          </p:cNvPr>
          <p:cNvCxnSpPr>
            <a:cxnSpLocks/>
          </p:cNvCxnSpPr>
          <p:nvPr userDrawn="1"/>
        </p:nvCxnSpPr>
        <p:spPr>
          <a:xfrm flipH="1">
            <a:off x="-5" y="551082"/>
            <a:ext cx="191913"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pic>
        <p:nvPicPr>
          <p:cNvPr id="8" name="Picture 7" descr="A red logo on a black background&#10;&#10;Description automatically generated">
            <a:extLst>
              <a:ext uri="{FF2B5EF4-FFF2-40B4-BE49-F238E27FC236}">
                <a16:creationId xmlns:a16="http://schemas.microsoft.com/office/drawing/2014/main" id="{19C398CB-6A34-3DA2-2062-1E674A3CDB99}"/>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746956" y="6226574"/>
            <a:ext cx="869313" cy="570111"/>
          </a:xfrm>
          <a:prstGeom prst="rect">
            <a:avLst/>
          </a:prstGeom>
        </p:spPr>
      </p:pic>
      <p:grpSp>
        <p:nvGrpSpPr>
          <p:cNvPr id="9" name="Group 8">
            <a:extLst>
              <a:ext uri="{FF2B5EF4-FFF2-40B4-BE49-F238E27FC236}">
                <a16:creationId xmlns:a16="http://schemas.microsoft.com/office/drawing/2014/main" id="{169A234B-2F89-D878-A2E4-C1DB0DE0CD2F}"/>
              </a:ext>
            </a:extLst>
          </p:cNvPr>
          <p:cNvGrpSpPr/>
          <p:nvPr userDrawn="1"/>
        </p:nvGrpSpPr>
        <p:grpSpPr>
          <a:xfrm>
            <a:off x="575732" y="6239458"/>
            <a:ext cx="2028923" cy="540580"/>
            <a:chOff x="867628" y="426344"/>
            <a:chExt cx="1917483" cy="510888"/>
          </a:xfrm>
        </p:grpSpPr>
        <p:grpSp>
          <p:nvGrpSpPr>
            <p:cNvPr id="10" name="Group 9">
              <a:extLst>
                <a:ext uri="{FF2B5EF4-FFF2-40B4-BE49-F238E27FC236}">
                  <a16:creationId xmlns:a16="http://schemas.microsoft.com/office/drawing/2014/main" id="{26E2935B-10A0-E89E-89B0-1BF2B156419E}"/>
                </a:ext>
              </a:extLst>
            </p:cNvPr>
            <p:cNvGrpSpPr/>
            <p:nvPr userDrawn="1"/>
          </p:nvGrpSpPr>
          <p:grpSpPr>
            <a:xfrm>
              <a:off x="1485617" y="481930"/>
              <a:ext cx="1299494" cy="399717"/>
              <a:chOff x="1485617" y="160329"/>
              <a:chExt cx="1299494" cy="399717"/>
            </a:xfrm>
          </p:grpSpPr>
          <p:pic>
            <p:nvPicPr>
              <p:cNvPr id="12" name="Picture 11">
                <a:extLst>
                  <a:ext uri="{FF2B5EF4-FFF2-40B4-BE49-F238E27FC236}">
                    <a16:creationId xmlns:a16="http://schemas.microsoft.com/office/drawing/2014/main" id="{2D922E45-4383-C036-E43E-5910A3DAC7B7}"/>
                  </a:ext>
                </a:extLst>
              </p:cNvPr>
              <p:cNvPicPr>
                <a:picLocks noChangeAspect="1"/>
              </p:cNvPicPr>
              <p:nvPr userDrawn="1"/>
            </p:nvPicPr>
            <p:blipFill rotWithShape="1">
              <a:blip r:embed="rId6"/>
              <a:srcRect t="-1" r="42158" b="17409"/>
              <a:stretch/>
            </p:blipFill>
            <p:spPr>
              <a:xfrm>
                <a:off x="1485617" y="160329"/>
                <a:ext cx="1299494" cy="209883"/>
              </a:xfrm>
              <a:prstGeom prst="rect">
                <a:avLst/>
              </a:prstGeom>
            </p:spPr>
          </p:pic>
          <p:pic>
            <p:nvPicPr>
              <p:cNvPr id="13" name="Picture 12">
                <a:extLst>
                  <a:ext uri="{FF2B5EF4-FFF2-40B4-BE49-F238E27FC236}">
                    <a16:creationId xmlns:a16="http://schemas.microsoft.com/office/drawing/2014/main" id="{AE841E53-8D94-2AD2-E931-C73DE5702031}"/>
                  </a:ext>
                </a:extLst>
              </p:cNvPr>
              <p:cNvPicPr>
                <a:picLocks noChangeAspect="1"/>
              </p:cNvPicPr>
              <p:nvPr userDrawn="1"/>
            </p:nvPicPr>
            <p:blipFill rotWithShape="1">
              <a:blip r:embed="rId6"/>
              <a:srcRect l="57841" t="-1" r="1797" b="17409"/>
              <a:stretch/>
            </p:blipFill>
            <p:spPr>
              <a:xfrm>
                <a:off x="1531337" y="350163"/>
                <a:ext cx="906779" cy="209883"/>
              </a:xfrm>
              <a:prstGeom prst="rect">
                <a:avLst/>
              </a:prstGeom>
            </p:spPr>
          </p:pic>
        </p:grpSp>
        <p:pic>
          <p:nvPicPr>
            <p:cNvPr id="11" name="Content Placeholder 3" descr="A blue and white logo&#10;&#10;Description automatically generated">
              <a:extLst>
                <a:ext uri="{FF2B5EF4-FFF2-40B4-BE49-F238E27FC236}">
                  <a16:creationId xmlns:a16="http://schemas.microsoft.com/office/drawing/2014/main" id="{B6DEDC93-7037-A437-D7DB-E9109CE86E6C}"/>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867628" y="426344"/>
              <a:ext cx="510888" cy="510888"/>
            </a:xfrm>
            <a:prstGeom prst="rect">
              <a:avLst/>
            </a:prstGeom>
          </p:spPr>
        </p:pic>
      </p:grpSp>
    </p:spTree>
    <p:extLst>
      <p:ext uri="{BB962C8B-B14F-4D97-AF65-F5344CB8AC3E}">
        <p14:creationId xmlns:p14="http://schemas.microsoft.com/office/powerpoint/2010/main" val="18632627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act Inf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77DDC90-97C8-6F94-CD04-958696B3F35F}"/>
              </a:ext>
            </a:extLst>
          </p:cNvPr>
          <p:cNvSpPr>
            <a:spLocks noGrp="1"/>
          </p:cNvSpPr>
          <p:nvPr>
            <p:ph idx="1" hasCustomPrompt="1"/>
          </p:nvPr>
        </p:nvSpPr>
        <p:spPr>
          <a:xfrm>
            <a:off x="838201" y="2698158"/>
            <a:ext cx="6503892" cy="2115671"/>
          </a:xfrm>
          <a:prstGeom prst="rect">
            <a:avLst/>
          </a:prstGeom>
        </p:spPr>
        <p:txBody>
          <a:bodyPr/>
          <a:lstStyle>
            <a:lvl1pPr marL="0" indent="0">
              <a:buNone/>
              <a:defRPr sz="2400">
                <a:solidFill>
                  <a:schemeClr val="bg1"/>
                </a:solidFill>
                <a:latin typeface="Arial" panose="020B0604020202020204" pitchFamily="34" charset="0"/>
                <a:cs typeface="Arial" panose="020B0604020202020204" pitchFamily="34" charset="0"/>
              </a:defRPr>
            </a:lvl1pPr>
          </a:lstStyle>
          <a:p>
            <a:pPr lvl="0"/>
            <a:r>
              <a:rPr lang="en-US"/>
              <a:t>Contact info</a:t>
            </a:r>
          </a:p>
        </p:txBody>
      </p:sp>
      <p:sp>
        <p:nvSpPr>
          <p:cNvPr id="5" name="Text Placeholder 4">
            <a:extLst>
              <a:ext uri="{FF2B5EF4-FFF2-40B4-BE49-F238E27FC236}">
                <a16:creationId xmlns:a16="http://schemas.microsoft.com/office/drawing/2014/main" id="{88C747F8-7A99-C9BA-57C2-DA29F44F07DF}"/>
              </a:ext>
            </a:extLst>
          </p:cNvPr>
          <p:cNvSpPr>
            <a:spLocks noGrp="1"/>
          </p:cNvSpPr>
          <p:nvPr>
            <p:ph type="body" sz="quarter" idx="14" hasCustomPrompt="1"/>
          </p:nvPr>
        </p:nvSpPr>
        <p:spPr>
          <a:xfrm>
            <a:off x="838199" y="1996464"/>
            <a:ext cx="6503893" cy="525463"/>
          </a:xfrm>
          <a:prstGeom prst="rect">
            <a:avLst/>
          </a:prstGeom>
        </p:spPr>
        <p:txBody>
          <a:bodyPr/>
          <a:lstStyle>
            <a:lvl1pPr marL="0" indent="0">
              <a:buNone/>
              <a:defRPr sz="2400" b="1">
                <a:solidFill>
                  <a:schemeClr val="accent3"/>
                </a:solidFill>
                <a:latin typeface="Arial" panose="020B0604020202020204" pitchFamily="34" charset="0"/>
                <a:cs typeface="Arial" panose="020B0604020202020204" pitchFamily="34" charset="0"/>
              </a:defRPr>
            </a:lvl1pPr>
            <a:lvl2pPr marL="274320" indent="0">
              <a:buNone/>
              <a:defRPr b="1">
                <a:solidFill>
                  <a:schemeClr val="accent2"/>
                </a:solidFill>
              </a:defRPr>
            </a:lvl2pPr>
            <a:lvl3pPr marL="731520" indent="0">
              <a:buNone/>
              <a:defRPr b="1">
                <a:solidFill>
                  <a:schemeClr val="accent2"/>
                </a:solidFill>
              </a:defRPr>
            </a:lvl3pPr>
            <a:lvl4pPr marL="1188720" indent="0">
              <a:buNone/>
              <a:defRPr b="1">
                <a:solidFill>
                  <a:schemeClr val="accent2"/>
                </a:solidFill>
              </a:defRPr>
            </a:lvl4pPr>
            <a:lvl5pPr marL="1645920" indent="0">
              <a:buNone/>
              <a:defRPr b="1">
                <a:solidFill>
                  <a:schemeClr val="accent2"/>
                </a:solidFill>
              </a:defRPr>
            </a:lvl5pPr>
          </a:lstStyle>
          <a:p>
            <a:pPr lvl="0"/>
            <a:r>
              <a:rPr lang="en-US"/>
              <a:t>Credentials</a:t>
            </a:r>
          </a:p>
        </p:txBody>
      </p:sp>
      <p:pic>
        <p:nvPicPr>
          <p:cNvPr id="2" name="Picture 1">
            <a:extLst>
              <a:ext uri="{FF2B5EF4-FFF2-40B4-BE49-F238E27FC236}">
                <a16:creationId xmlns:a16="http://schemas.microsoft.com/office/drawing/2014/main" id="{53166A1E-634D-B870-A29A-246F6C65833D}"/>
              </a:ext>
            </a:extLst>
          </p:cNvPr>
          <p:cNvPicPr>
            <a:picLocks noChangeAspect="1"/>
          </p:cNvPicPr>
          <p:nvPr userDrawn="1"/>
        </p:nvPicPr>
        <p:blipFill>
          <a:blip r:embed="rId3"/>
          <a:srcRect/>
          <a:stretch/>
        </p:blipFill>
        <p:spPr>
          <a:xfrm>
            <a:off x="-4047134" y="1193191"/>
            <a:ext cx="11515265" cy="646071"/>
          </a:xfrm>
          <a:prstGeom prst="rect">
            <a:avLst/>
          </a:prstGeom>
        </p:spPr>
      </p:pic>
      <p:sp>
        <p:nvSpPr>
          <p:cNvPr id="3" name="Title 1">
            <a:extLst>
              <a:ext uri="{FF2B5EF4-FFF2-40B4-BE49-F238E27FC236}">
                <a16:creationId xmlns:a16="http://schemas.microsoft.com/office/drawing/2014/main" id="{797E5574-BC6B-25AD-60B3-64433375BABC}"/>
              </a:ext>
            </a:extLst>
          </p:cNvPr>
          <p:cNvSpPr>
            <a:spLocks noGrp="1"/>
          </p:cNvSpPr>
          <p:nvPr>
            <p:ph type="title" hasCustomPrompt="1"/>
          </p:nvPr>
        </p:nvSpPr>
        <p:spPr>
          <a:xfrm>
            <a:off x="838200" y="1263666"/>
            <a:ext cx="6503894" cy="511568"/>
          </a:xfrm>
          <a:prstGeom prst="rect">
            <a:avLst/>
          </a:prstGeom>
        </p:spPr>
        <p:txBody>
          <a:bodyPr/>
          <a:lstStyle>
            <a:lvl1pPr>
              <a:defRPr sz="3200" b="1">
                <a:solidFill>
                  <a:schemeClr val="bg1"/>
                </a:solidFill>
                <a:latin typeface="Arial" panose="020B0604020202020204" pitchFamily="34" charset="0"/>
                <a:cs typeface="Arial" panose="020B0604020202020204" pitchFamily="34" charset="0"/>
              </a:defRPr>
            </a:lvl1pPr>
          </a:lstStyle>
          <a:p>
            <a:r>
              <a:rPr lang="en-US"/>
              <a:t>Name</a:t>
            </a:r>
          </a:p>
        </p:txBody>
      </p:sp>
    </p:spTree>
    <p:extLst>
      <p:ext uri="{BB962C8B-B14F-4D97-AF65-F5344CB8AC3E}">
        <p14:creationId xmlns:p14="http://schemas.microsoft.com/office/powerpoint/2010/main" val="10930883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3175" y="6031714"/>
            <a:ext cx="12188825" cy="8262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0" y="596770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32632"/>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280" y="6036701"/>
            <a:ext cx="4639096" cy="777240"/>
          </a:xfrm>
          <a:prstGeom prst="rect">
            <a:avLst/>
          </a:prstGeom>
        </p:spPr>
      </p:pic>
    </p:spTree>
    <p:extLst>
      <p:ext uri="{BB962C8B-B14F-4D97-AF65-F5344CB8AC3E}">
        <p14:creationId xmlns:p14="http://schemas.microsoft.com/office/powerpoint/2010/main" val="361215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4" name="Title Text">
            <a:extLst>
              <a:ext uri="{FF2B5EF4-FFF2-40B4-BE49-F238E27FC236}">
                <a16:creationId xmlns:a16="http://schemas.microsoft.com/office/drawing/2014/main" id="{AA6BC4EE-9385-8048-94F7-C8E9B0881855}"/>
              </a:ext>
            </a:extLst>
          </p:cNvPr>
          <p:cNvSpPr txBox="1">
            <a:spLocks noGrp="1"/>
          </p:cNvSpPr>
          <p:nvPr>
            <p:ph type="title"/>
          </p:nvPr>
        </p:nvSpPr>
        <p:spPr>
          <a:xfrm>
            <a:off x="548640" y="228600"/>
            <a:ext cx="10972800" cy="457200"/>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106231750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0054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4"/>
            <a:ext cx="10058400" cy="895652"/>
          </a:xfrm>
        </p:spPr>
        <p:txBody>
          <a:bodyPr/>
          <a:lstStyle/>
          <a:p>
            <a:r>
              <a:rPr lang="en-US"/>
              <a:t>Click to edit Master title style</a:t>
            </a:r>
          </a:p>
        </p:txBody>
      </p:sp>
      <p:sp>
        <p:nvSpPr>
          <p:cNvPr id="3" name="Content Placeholder 2"/>
          <p:cNvSpPr>
            <a:spLocks noGrp="1"/>
          </p:cNvSpPr>
          <p:nvPr>
            <p:ph sz="half" idx="1"/>
          </p:nvPr>
        </p:nvSpPr>
        <p:spPr>
          <a:xfrm>
            <a:off x="1097279" y="1311564"/>
            <a:ext cx="4937760" cy="45575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311564"/>
            <a:ext cx="4937760" cy="45575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54658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spTree>
      <p:nvGrpSpPr>
        <p:cNvPr id="1" name=""/>
        <p:cNvGrpSpPr/>
        <p:nvPr/>
      </p:nvGrpSpPr>
      <p:grpSpPr>
        <a:xfrm>
          <a:off x="0" y="0"/>
          <a:ext cx="0" cy="0"/>
          <a:chOff x="0" y="0"/>
          <a:chExt cx="0" cy="0"/>
        </a:xfrm>
      </p:grpSpPr>
      <p:sp>
        <p:nvSpPr>
          <p:cNvPr id="8" name="Rectangle 7"/>
          <p:cNvSpPr/>
          <p:nvPr/>
        </p:nvSpPr>
        <p:spPr>
          <a:xfrm>
            <a:off x="17" y="0"/>
            <a:ext cx="217976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2179783"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258619" y="594359"/>
            <a:ext cx="1579417" cy="2555241"/>
          </a:xfrm>
        </p:spPr>
        <p:txBody>
          <a:bodyPr anchor="b">
            <a:normAutofit/>
          </a:bodyPr>
          <a:lstStyle>
            <a:lvl1pPr algn="l">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2521530" y="731520"/>
            <a:ext cx="877131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8619" y="5218545"/>
            <a:ext cx="1489372" cy="1334290"/>
          </a:xfrm>
          <a:prstGeom prst="rect">
            <a:avLst/>
          </a:prstGeom>
        </p:spPr>
      </p:pic>
    </p:spTree>
    <p:extLst>
      <p:ext uri="{BB962C8B-B14F-4D97-AF65-F5344CB8AC3E}">
        <p14:creationId xmlns:p14="http://schemas.microsoft.com/office/powerpoint/2010/main" val="822982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457200" y="594359"/>
            <a:ext cx="3200400" cy="1142077"/>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884218"/>
            <a:ext cx="3200400" cy="3796146"/>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6056276"/>
            <a:ext cx="3200400" cy="536199"/>
          </a:xfrm>
          <a:prstGeom prst="rect">
            <a:avLst/>
          </a:prstGeom>
        </p:spPr>
      </p:pic>
    </p:spTree>
    <p:extLst>
      <p:ext uri="{BB962C8B-B14F-4D97-AF65-F5344CB8AC3E}">
        <p14:creationId xmlns:p14="http://schemas.microsoft.com/office/powerpoint/2010/main" val="30744772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3" name="Isosceles Triangle 8">
            <a:extLst>
              <a:ext uri="{FF2B5EF4-FFF2-40B4-BE49-F238E27FC236}">
                <a16:creationId xmlns:a16="http://schemas.microsoft.com/office/drawing/2014/main" id="{29EFF995-6C2D-684A-8FB7-7CAFCF542F73}"/>
              </a:ext>
            </a:extLst>
          </p:cNvPr>
          <p:cNvSpPr>
            <a:spLocks noChangeAspect="1"/>
          </p:cNvSpPr>
          <p:nvPr/>
        </p:nvSpPr>
        <p:spPr>
          <a:xfrm rot="5400000">
            <a:off x="590551" y="6446837"/>
            <a:ext cx="190500" cy="161925"/>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fontAlgn="auto" hangingPunct="1">
              <a:spcBef>
                <a:spcPts val="0"/>
              </a:spcBef>
              <a:spcAft>
                <a:spcPts val="0"/>
              </a:spcAft>
              <a:defRPr/>
            </a:pPr>
            <a:endParaRPr lang="en-US" sz="2160"/>
          </a:p>
        </p:txBody>
      </p:sp>
      <p:pic>
        <p:nvPicPr>
          <p:cNvPr id="4" name="Picture 11">
            <a:extLst>
              <a:ext uri="{FF2B5EF4-FFF2-40B4-BE49-F238E27FC236}">
                <a16:creationId xmlns:a16="http://schemas.microsoft.com/office/drawing/2014/main" id="{EC3AAEB6-A992-DF4C-ACED-4C00A606B2C8}"/>
              </a:ext>
            </a:extLst>
          </p:cNvPr>
          <p:cNvPicPr>
            <a:picLocks noChangeAspect="1"/>
          </p:cNvPicPr>
          <p:nvPr userDrawn="1"/>
        </p:nvPicPr>
        <p:blipFill>
          <a:blip r:embed="rId2">
            <a:extLst>
              <a:ext uri="{28A0092B-C50C-407E-A947-70E740481C1C}">
                <a14:useLocalDpi xmlns:a14="http://schemas.microsoft.com/office/drawing/2010/main" val="0"/>
              </a:ext>
            </a:extLst>
          </a:blip>
          <a:srcRect l="53629" r="14091" b="56230"/>
          <a:stretch>
            <a:fillRect/>
          </a:stretch>
        </p:blipFill>
        <p:spPr bwMode="auto">
          <a:xfrm>
            <a:off x="10602913" y="136525"/>
            <a:ext cx="992187"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0" y="228600"/>
            <a:ext cx="10972800" cy="914400"/>
          </a:xfrm>
        </p:spPr>
        <p:txBody>
          <a:bodyPr/>
          <a:lstStyle/>
          <a:p>
            <a:r>
              <a:rPr lang="en-US"/>
              <a:t>Click to edit Master title style</a:t>
            </a:r>
          </a:p>
        </p:txBody>
      </p:sp>
      <p:sp>
        <p:nvSpPr>
          <p:cNvPr id="5" name="Date Placeholder 2">
            <a:extLst>
              <a:ext uri="{FF2B5EF4-FFF2-40B4-BE49-F238E27FC236}">
                <a16:creationId xmlns:a16="http://schemas.microsoft.com/office/drawing/2014/main" id="{8981BC70-5C9F-FA47-BC50-8F5D4457AC1F}"/>
              </a:ext>
            </a:extLst>
          </p:cNvPr>
          <p:cNvSpPr>
            <a:spLocks noGrp="1"/>
          </p:cNvSpPr>
          <p:nvPr>
            <p:ph type="dt" sz="half" idx="10"/>
          </p:nvPr>
        </p:nvSpPr>
        <p:spPr/>
        <p:txBody>
          <a:bodyPr/>
          <a:lstStyle>
            <a:lvl1pPr>
              <a:defRPr>
                <a:latin typeface="Arial" pitchFamily="34" charset="0"/>
                <a:ea typeface="ＭＳ Ｐゴシック" pitchFamily="34" charset="-128"/>
                <a:cs typeface="+mn-cs"/>
              </a:defRPr>
            </a:lvl1pPr>
          </a:lstStyle>
          <a:p>
            <a:pPr>
              <a:defRPr/>
            </a:pPr>
            <a:endParaRPr lang="en-US"/>
          </a:p>
        </p:txBody>
      </p:sp>
      <p:sp>
        <p:nvSpPr>
          <p:cNvPr id="6" name="Footer Placeholder 3">
            <a:extLst>
              <a:ext uri="{FF2B5EF4-FFF2-40B4-BE49-F238E27FC236}">
                <a16:creationId xmlns:a16="http://schemas.microsoft.com/office/drawing/2014/main" id="{F0CFE312-9223-AA45-9648-79FE79E82DE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4">
            <a:extLst>
              <a:ext uri="{FF2B5EF4-FFF2-40B4-BE49-F238E27FC236}">
                <a16:creationId xmlns:a16="http://schemas.microsoft.com/office/drawing/2014/main" id="{8A82113F-3360-D342-9FFC-EBC79BBC2A2D}"/>
              </a:ext>
            </a:extLst>
          </p:cNvPr>
          <p:cNvSpPr>
            <a:spLocks noGrp="1"/>
          </p:cNvSpPr>
          <p:nvPr>
            <p:ph type="sldNum" sz="quarter" idx="12"/>
          </p:nvPr>
        </p:nvSpPr>
        <p:spPr>
          <a:xfrm>
            <a:off x="817563" y="6356350"/>
            <a:ext cx="2641600" cy="366713"/>
          </a:xfrm>
          <a:prstGeom prst="rect">
            <a:avLst/>
          </a:prstGeom>
        </p:spPr>
        <p:txBody>
          <a:bodyPr vert="horz" wrap="square" lIns="91440" tIns="45720" rIns="91440" bIns="45720" numCol="1" anchor="t" anchorCtr="0" compatLnSpc="1">
            <a:prstTxWarp prst="textNoShape">
              <a:avLst/>
            </a:prstTxWarp>
          </a:bodyPr>
          <a:lstStyle>
            <a:lvl1pPr eaLnBrk="1" fontAlgn="auto" hangingPunct="1">
              <a:spcBef>
                <a:spcPts val="0"/>
              </a:spcBef>
              <a:spcAft>
                <a:spcPts val="0"/>
              </a:spcAft>
              <a:defRPr>
                <a:latin typeface="+mn-lt"/>
              </a:defRPr>
            </a:lvl1pPr>
          </a:lstStyle>
          <a:p>
            <a:pPr>
              <a:defRPr/>
            </a:pPr>
            <a:fld id="{C00DEBF1-7D45-CD4B-92FF-AF8C6AF9C8C8}" type="slidenum">
              <a:rPr lang="en-US" altLang="en-US"/>
              <a:pPr>
                <a:defRPr/>
              </a:pPr>
              <a:t>‹#›</a:t>
            </a:fld>
            <a:endParaRPr lang="en-US" altLang="en-US"/>
          </a:p>
        </p:txBody>
      </p:sp>
    </p:spTree>
    <p:extLst>
      <p:ext uri="{BB962C8B-B14F-4D97-AF65-F5344CB8AC3E}">
        <p14:creationId xmlns:p14="http://schemas.microsoft.com/office/powerpoint/2010/main" val="8584600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130426"/>
            <a:ext cx="10363200" cy="1470025"/>
          </a:xfrm>
        </p:spPr>
        <p:txBody>
          <a:bodyPr anchor="b" anchorCtr="0">
            <a:noAutofit/>
          </a:bodyPr>
          <a:lstStyle>
            <a:lvl1pPr algn="l">
              <a:defRPr sz="2800" baseline="0">
                <a:solidFill>
                  <a:srgbClr val="00A94F"/>
                </a:solidFill>
                <a:latin typeface="Arial Rounded MT Bold" panose="020F0704030504030204" pitchFamily="34" charset="0"/>
              </a:defRPr>
            </a:lvl1pPr>
          </a:lstStyle>
          <a:p>
            <a:r>
              <a:rPr lang="en-US" dirty="0"/>
              <a:t>Title Slide</a:t>
            </a:r>
          </a:p>
        </p:txBody>
      </p:sp>
      <p:sp>
        <p:nvSpPr>
          <p:cNvPr id="3" name="Subtitle 2"/>
          <p:cNvSpPr>
            <a:spLocks noGrp="1"/>
          </p:cNvSpPr>
          <p:nvPr>
            <p:ph type="subTitle" idx="1" hasCustomPrompt="1"/>
          </p:nvPr>
        </p:nvSpPr>
        <p:spPr>
          <a:xfrm>
            <a:off x="914400" y="3886200"/>
            <a:ext cx="10363200" cy="1371600"/>
          </a:xfrm>
        </p:spPr>
        <p:txBody>
          <a:bodyPr>
            <a:noAutofit/>
          </a:bodyPr>
          <a:lstStyle>
            <a:lvl1pPr marL="0" indent="0" algn="l">
              <a:buNone/>
              <a:defRPr sz="2400" b="1">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here</a:t>
            </a:r>
          </a:p>
        </p:txBody>
      </p:sp>
      <p:sp>
        <p:nvSpPr>
          <p:cNvPr id="10" name="object 2"/>
          <p:cNvSpPr/>
          <p:nvPr/>
        </p:nvSpPr>
        <p:spPr>
          <a:xfrm>
            <a:off x="494490" y="6385280"/>
            <a:ext cx="11203093" cy="113664"/>
          </a:xfrm>
          <a:custGeom>
            <a:avLst/>
            <a:gdLst/>
            <a:ahLst/>
            <a:cxnLst/>
            <a:rect l="l" t="t" r="r" b="b"/>
            <a:pathLst>
              <a:path w="8402320" h="113664">
                <a:moveTo>
                  <a:pt x="56565" y="0"/>
                </a:moveTo>
                <a:lnTo>
                  <a:pt x="34975" y="4398"/>
                </a:lnTo>
                <a:lnTo>
                  <a:pt x="16948" y="16408"/>
                </a:lnTo>
                <a:lnTo>
                  <a:pt x="4587" y="34247"/>
                </a:lnTo>
                <a:lnTo>
                  <a:pt x="0" y="56133"/>
                </a:lnTo>
                <a:lnTo>
                  <a:pt x="0" y="56997"/>
                </a:lnTo>
                <a:lnTo>
                  <a:pt x="4466" y="78884"/>
                </a:lnTo>
                <a:lnTo>
                  <a:pt x="16624" y="96723"/>
                </a:lnTo>
                <a:lnTo>
                  <a:pt x="34611" y="108732"/>
                </a:lnTo>
                <a:lnTo>
                  <a:pt x="56565" y="113131"/>
                </a:lnTo>
                <a:lnTo>
                  <a:pt x="78520" y="108732"/>
                </a:lnTo>
                <a:lnTo>
                  <a:pt x="96507" y="96723"/>
                </a:lnTo>
                <a:lnTo>
                  <a:pt x="108665" y="78884"/>
                </a:lnTo>
                <a:lnTo>
                  <a:pt x="113131" y="56997"/>
                </a:lnTo>
                <a:lnTo>
                  <a:pt x="113131" y="56133"/>
                </a:lnTo>
                <a:lnTo>
                  <a:pt x="108483" y="34247"/>
                </a:lnTo>
                <a:lnTo>
                  <a:pt x="96021" y="16408"/>
                </a:lnTo>
                <a:lnTo>
                  <a:pt x="77973" y="4398"/>
                </a:lnTo>
                <a:lnTo>
                  <a:pt x="56565" y="0"/>
                </a:lnTo>
                <a:close/>
              </a:path>
              <a:path w="8402320" h="113664">
                <a:moveTo>
                  <a:pt x="315595" y="0"/>
                </a:moveTo>
                <a:lnTo>
                  <a:pt x="294005" y="4398"/>
                </a:lnTo>
                <a:lnTo>
                  <a:pt x="275977" y="16408"/>
                </a:lnTo>
                <a:lnTo>
                  <a:pt x="263617" y="34247"/>
                </a:lnTo>
                <a:lnTo>
                  <a:pt x="259029" y="56133"/>
                </a:lnTo>
                <a:lnTo>
                  <a:pt x="259029" y="56997"/>
                </a:lnTo>
                <a:lnTo>
                  <a:pt x="263495" y="78884"/>
                </a:lnTo>
                <a:lnTo>
                  <a:pt x="275653" y="96723"/>
                </a:lnTo>
                <a:lnTo>
                  <a:pt x="293640" y="108732"/>
                </a:lnTo>
                <a:lnTo>
                  <a:pt x="315595" y="113131"/>
                </a:lnTo>
                <a:lnTo>
                  <a:pt x="337549" y="108732"/>
                </a:lnTo>
                <a:lnTo>
                  <a:pt x="355536" y="96723"/>
                </a:lnTo>
                <a:lnTo>
                  <a:pt x="367694" y="78884"/>
                </a:lnTo>
                <a:lnTo>
                  <a:pt x="372160" y="56997"/>
                </a:lnTo>
                <a:lnTo>
                  <a:pt x="372160" y="56133"/>
                </a:lnTo>
                <a:lnTo>
                  <a:pt x="367512" y="34247"/>
                </a:lnTo>
                <a:lnTo>
                  <a:pt x="355050" y="16408"/>
                </a:lnTo>
                <a:lnTo>
                  <a:pt x="337002" y="4398"/>
                </a:lnTo>
                <a:lnTo>
                  <a:pt x="315595" y="0"/>
                </a:lnTo>
                <a:close/>
              </a:path>
              <a:path w="8402320" h="113664">
                <a:moveTo>
                  <a:pt x="574636" y="0"/>
                </a:moveTo>
                <a:lnTo>
                  <a:pt x="553046" y="4398"/>
                </a:lnTo>
                <a:lnTo>
                  <a:pt x="535019" y="16408"/>
                </a:lnTo>
                <a:lnTo>
                  <a:pt x="522658" y="34247"/>
                </a:lnTo>
                <a:lnTo>
                  <a:pt x="518071" y="56133"/>
                </a:lnTo>
                <a:lnTo>
                  <a:pt x="518071" y="56997"/>
                </a:lnTo>
                <a:lnTo>
                  <a:pt x="522537" y="78884"/>
                </a:lnTo>
                <a:lnTo>
                  <a:pt x="534695" y="96723"/>
                </a:lnTo>
                <a:lnTo>
                  <a:pt x="552682" y="108732"/>
                </a:lnTo>
                <a:lnTo>
                  <a:pt x="574636" y="113131"/>
                </a:lnTo>
                <a:lnTo>
                  <a:pt x="596591" y="108732"/>
                </a:lnTo>
                <a:lnTo>
                  <a:pt x="614578" y="96723"/>
                </a:lnTo>
                <a:lnTo>
                  <a:pt x="626736" y="78884"/>
                </a:lnTo>
                <a:lnTo>
                  <a:pt x="631202" y="56997"/>
                </a:lnTo>
                <a:lnTo>
                  <a:pt x="631202" y="56133"/>
                </a:lnTo>
                <a:lnTo>
                  <a:pt x="626554" y="34247"/>
                </a:lnTo>
                <a:lnTo>
                  <a:pt x="614092" y="16408"/>
                </a:lnTo>
                <a:lnTo>
                  <a:pt x="596044" y="4398"/>
                </a:lnTo>
                <a:lnTo>
                  <a:pt x="574636" y="0"/>
                </a:lnTo>
                <a:close/>
              </a:path>
              <a:path w="8402320" h="113664">
                <a:moveTo>
                  <a:pt x="833666" y="0"/>
                </a:moveTo>
                <a:lnTo>
                  <a:pt x="812076" y="4398"/>
                </a:lnTo>
                <a:lnTo>
                  <a:pt x="794048" y="16408"/>
                </a:lnTo>
                <a:lnTo>
                  <a:pt x="781688" y="34247"/>
                </a:lnTo>
                <a:lnTo>
                  <a:pt x="777100" y="56133"/>
                </a:lnTo>
                <a:lnTo>
                  <a:pt x="777100" y="56997"/>
                </a:lnTo>
                <a:lnTo>
                  <a:pt x="781566" y="78884"/>
                </a:lnTo>
                <a:lnTo>
                  <a:pt x="793724" y="96723"/>
                </a:lnTo>
                <a:lnTo>
                  <a:pt x="811711" y="108732"/>
                </a:lnTo>
                <a:lnTo>
                  <a:pt x="833666" y="113131"/>
                </a:lnTo>
                <a:lnTo>
                  <a:pt x="855620" y="108732"/>
                </a:lnTo>
                <a:lnTo>
                  <a:pt x="873607" y="96723"/>
                </a:lnTo>
                <a:lnTo>
                  <a:pt x="885765" y="78884"/>
                </a:lnTo>
                <a:lnTo>
                  <a:pt x="890231" y="56997"/>
                </a:lnTo>
                <a:lnTo>
                  <a:pt x="890231" y="56133"/>
                </a:lnTo>
                <a:lnTo>
                  <a:pt x="885583" y="34247"/>
                </a:lnTo>
                <a:lnTo>
                  <a:pt x="873121" y="16408"/>
                </a:lnTo>
                <a:lnTo>
                  <a:pt x="855073" y="4398"/>
                </a:lnTo>
                <a:lnTo>
                  <a:pt x="833666" y="0"/>
                </a:lnTo>
                <a:close/>
              </a:path>
              <a:path w="8402320" h="113664">
                <a:moveTo>
                  <a:pt x="1092708" y="0"/>
                </a:moveTo>
                <a:lnTo>
                  <a:pt x="1071118" y="4398"/>
                </a:lnTo>
                <a:lnTo>
                  <a:pt x="1053090" y="16408"/>
                </a:lnTo>
                <a:lnTo>
                  <a:pt x="1040730" y="34247"/>
                </a:lnTo>
                <a:lnTo>
                  <a:pt x="1036142" y="56133"/>
                </a:lnTo>
                <a:lnTo>
                  <a:pt x="1036142" y="56997"/>
                </a:lnTo>
                <a:lnTo>
                  <a:pt x="1040608" y="78884"/>
                </a:lnTo>
                <a:lnTo>
                  <a:pt x="1052766" y="96723"/>
                </a:lnTo>
                <a:lnTo>
                  <a:pt x="1070753" y="108732"/>
                </a:lnTo>
                <a:lnTo>
                  <a:pt x="1092708" y="113131"/>
                </a:lnTo>
                <a:lnTo>
                  <a:pt x="1114662" y="108732"/>
                </a:lnTo>
                <a:lnTo>
                  <a:pt x="1132649" y="96723"/>
                </a:lnTo>
                <a:lnTo>
                  <a:pt x="1144807" y="78884"/>
                </a:lnTo>
                <a:lnTo>
                  <a:pt x="1149273" y="56997"/>
                </a:lnTo>
                <a:lnTo>
                  <a:pt x="1149273" y="56133"/>
                </a:lnTo>
                <a:lnTo>
                  <a:pt x="1144625" y="34247"/>
                </a:lnTo>
                <a:lnTo>
                  <a:pt x="1132163" y="16408"/>
                </a:lnTo>
                <a:lnTo>
                  <a:pt x="1114115" y="4398"/>
                </a:lnTo>
                <a:lnTo>
                  <a:pt x="1092708" y="0"/>
                </a:lnTo>
                <a:close/>
              </a:path>
              <a:path w="8402320" h="113664">
                <a:moveTo>
                  <a:pt x="1351737" y="0"/>
                </a:moveTo>
                <a:lnTo>
                  <a:pt x="1330147" y="4398"/>
                </a:lnTo>
                <a:lnTo>
                  <a:pt x="1312119" y="16408"/>
                </a:lnTo>
                <a:lnTo>
                  <a:pt x="1299759" y="34247"/>
                </a:lnTo>
                <a:lnTo>
                  <a:pt x="1295171" y="56133"/>
                </a:lnTo>
                <a:lnTo>
                  <a:pt x="1295171" y="56997"/>
                </a:lnTo>
                <a:lnTo>
                  <a:pt x="1299637" y="78884"/>
                </a:lnTo>
                <a:lnTo>
                  <a:pt x="1311795" y="96723"/>
                </a:lnTo>
                <a:lnTo>
                  <a:pt x="1329782" y="108732"/>
                </a:lnTo>
                <a:lnTo>
                  <a:pt x="1351737" y="113131"/>
                </a:lnTo>
                <a:lnTo>
                  <a:pt x="1373691" y="108732"/>
                </a:lnTo>
                <a:lnTo>
                  <a:pt x="1391678" y="96723"/>
                </a:lnTo>
                <a:lnTo>
                  <a:pt x="1403836" y="78884"/>
                </a:lnTo>
                <a:lnTo>
                  <a:pt x="1408303" y="56997"/>
                </a:lnTo>
                <a:lnTo>
                  <a:pt x="1408303" y="56133"/>
                </a:lnTo>
                <a:lnTo>
                  <a:pt x="1403654" y="34247"/>
                </a:lnTo>
                <a:lnTo>
                  <a:pt x="1391192" y="16408"/>
                </a:lnTo>
                <a:lnTo>
                  <a:pt x="1373145" y="4398"/>
                </a:lnTo>
                <a:lnTo>
                  <a:pt x="1351737" y="0"/>
                </a:lnTo>
                <a:close/>
              </a:path>
              <a:path w="8402320" h="113664">
                <a:moveTo>
                  <a:pt x="1610779" y="0"/>
                </a:moveTo>
                <a:lnTo>
                  <a:pt x="1589189" y="4398"/>
                </a:lnTo>
                <a:lnTo>
                  <a:pt x="1571161" y="16408"/>
                </a:lnTo>
                <a:lnTo>
                  <a:pt x="1558801" y="34247"/>
                </a:lnTo>
                <a:lnTo>
                  <a:pt x="1554213" y="56133"/>
                </a:lnTo>
                <a:lnTo>
                  <a:pt x="1554213" y="56997"/>
                </a:lnTo>
                <a:lnTo>
                  <a:pt x="1558679" y="78884"/>
                </a:lnTo>
                <a:lnTo>
                  <a:pt x="1570837" y="96723"/>
                </a:lnTo>
                <a:lnTo>
                  <a:pt x="1588824" y="108732"/>
                </a:lnTo>
                <a:lnTo>
                  <a:pt x="1610779" y="113131"/>
                </a:lnTo>
                <a:lnTo>
                  <a:pt x="1632733" y="108732"/>
                </a:lnTo>
                <a:lnTo>
                  <a:pt x="1650720" y="96723"/>
                </a:lnTo>
                <a:lnTo>
                  <a:pt x="1662878" y="78884"/>
                </a:lnTo>
                <a:lnTo>
                  <a:pt x="1667344" y="56997"/>
                </a:lnTo>
                <a:lnTo>
                  <a:pt x="1667344" y="56133"/>
                </a:lnTo>
                <a:lnTo>
                  <a:pt x="1662696" y="34247"/>
                </a:lnTo>
                <a:lnTo>
                  <a:pt x="1650234" y="16408"/>
                </a:lnTo>
                <a:lnTo>
                  <a:pt x="1632186" y="4398"/>
                </a:lnTo>
                <a:lnTo>
                  <a:pt x="1610779" y="0"/>
                </a:lnTo>
                <a:close/>
              </a:path>
              <a:path w="8402320" h="113664">
                <a:moveTo>
                  <a:pt x="1869808" y="0"/>
                </a:moveTo>
                <a:lnTo>
                  <a:pt x="1848218" y="4398"/>
                </a:lnTo>
                <a:lnTo>
                  <a:pt x="1830190" y="16408"/>
                </a:lnTo>
                <a:lnTo>
                  <a:pt x="1817830" y="34247"/>
                </a:lnTo>
                <a:lnTo>
                  <a:pt x="1813242" y="56133"/>
                </a:lnTo>
                <a:lnTo>
                  <a:pt x="1813242" y="56997"/>
                </a:lnTo>
                <a:lnTo>
                  <a:pt x="1817708" y="78884"/>
                </a:lnTo>
                <a:lnTo>
                  <a:pt x="1829866" y="96723"/>
                </a:lnTo>
                <a:lnTo>
                  <a:pt x="1847853" y="108732"/>
                </a:lnTo>
                <a:lnTo>
                  <a:pt x="1869808" y="113131"/>
                </a:lnTo>
                <a:lnTo>
                  <a:pt x="1891762" y="108732"/>
                </a:lnTo>
                <a:lnTo>
                  <a:pt x="1909749" y="96723"/>
                </a:lnTo>
                <a:lnTo>
                  <a:pt x="1921907" y="78884"/>
                </a:lnTo>
                <a:lnTo>
                  <a:pt x="1926374" y="56997"/>
                </a:lnTo>
                <a:lnTo>
                  <a:pt x="1926374" y="56133"/>
                </a:lnTo>
                <a:lnTo>
                  <a:pt x="1921725" y="34247"/>
                </a:lnTo>
                <a:lnTo>
                  <a:pt x="1909264" y="16408"/>
                </a:lnTo>
                <a:lnTo>
                  <a:pt x="1891216" y="4398"/>
                </a:lnTo>
                <a:lnTo>
                  <a:pt x="1869808" y="0"/>
                </a:lnTo>
                <a:close/>
              </a:path>
              <a:path w="8402320" h="113664">
                <a:moveTo>
                  <a:pt x="2128850" y="0"/>
                </a:moveTo>
                <a:lnTo>
                  <a:pt x="2107260" y="4398"/>
                </a:lnTo>
                <a:lnTo>
                  <a:pt x="2089232" y="16408"/>
                </a:lnTo>
                <a:lnTo>
                  <a:pt x="2076872" y="34247"/>
                </a:lnTo>
                <a:lnTo>
                  <a:pt x="2072284" y="56133"/>
                </a:lnTo>
                <a:lnTo>
                  <a:pt x="2072284" y="56997"/>
                </a:lnTo>
                <a:lnTo>
                  <a:pt x="2076750" y="78884"/>
                </a:lnTo>
                <a:lnTo>
                  <a:pt x="2088908" y="96723"/>
                </a:lnTo>
                <a:lnTo>
                  <a:pt x="2106895" y="108732"/>
                </a:lnTo>
                <a:lnTo>
                  <a:pt x="2128850" y="113131"/>
                </a:lnTo>
                <a:lnTo>
                  <a:pt x="2150804" y="108732"/>
                </a:lnTo>
                <a:lnTo>
                  <a:pt x="2168791" y="96723"/>
                </a:lnTo>
                <a:lnTo>
                  <a:pt x="2180949" y="78884"/>
                </a:lnTo>
                <a:lnTo>
                  <a:pt x="2185416" y="56997"/>
                </a:lnTo>
                <a:lnTo>
                  <a:pt x="2185416" y="56133"/>
                </a:lnTo>
                <a:lnTo>
                  <a:pt x="2180767" y="34247"/>
                </a:lnTo>
                <a:lnTo>
                  <a:pt x="2168305" y="16408"/>
                </a:lnTo>
                <a:lnTo>
                  <a:pt x="2150258" y="4398"/>
                </a:lnTo>
                <a:lnTo>
                  <a:pt x="2128850" y="0"/>
                </a:lnTo>
                <a:close/>
              </a:path>
              <a:path w="8402320" h="113664">
                <a:moveTo>
                  <a:pt x="2387879" y="0"/>
                </a:moveTo>
                <a:lnTo>
                  <a:pt x="2366289" y="4398"/>
                </a:lnTo>
                <a:lnTo>
                  <a:pt x="2348261" y="16408"/>
                </a:lnTo>
                <a:lnTo>
                  <a:pt x="2335901" y="34247"/>
                </a:lnTo>
                <a:lnTo>
                  <a:pt x="2331313" y="56133"/>
                </a:lnTo>
                <a:lnTo>
                  <a:pt x="2331313" y="56997"/>
                </a:lnTo>
                <a:lnTo>
                  <a:pt x="2335780" y="78884"/>
                </a:lnTo>
                <a:lnTo>
                  <a:pt x="2347937" y="96723"/>
                </a:lnTo>
                <a:lnTo>
                  <a:pt x="2365925" y="108732"/>
                </a:lnTo>
                <a:lnTo>
                  <a:pt x="2387879" y="113131"/>
                </a:lnTo>
                <a:lnTo>
                  <a:pt x="2409833" y="108732"/>
                </a:lnTo>
                <a:lnTo>
                  <a:pt x="2427820" y="96723"/>
                </a:lnTo>
                <a:lnTo>
                  <a:pt x="2439978" y="78884"/>
                </a:lnTo>
                <a:lnTo>
                  <a:pt x="2444445" y="56997"/>
                </a:lnTo>
                <a:lnTo>
                  <a:pt x="2444445" y="56133"/>
                </a:lnTo>
                <a:lnTo>
                  <a:pt x="2439796" y="34247"/>
                </a:lnTo>
                <a:lnTo>
                  <a:pt x="2427335" y="16408"/>
                </a:lnTo>
                <a:lnTo>
                  <a:pt x="2409287" y="4398"/>
                </a:lnTo>
                <a:lnTo>
                  <a:pt x="2387879" y="0"/>
                </a:lnTo>
                <a:close/>
              </a:path>
              <a:path w="8402320" h="113664">
                <a:moveTo>
                  <a:pt x="2646921" y="0"/>
                </a:moveTo>
                <a:lnTo>
                  <a:pt x="2625331" y="4398"/>
                </a:lnTo>
                <a:lnTo>
                  <a:pt x="2607303" y="16408"/>
                </a:lnTo>
                <a:lnTo>
                  <a:pt x="2594943" y="34247"/>
                </a:lnTo>
                <a:lnTo>
                  <a:pt x="2590355" y="56133"/>
                </a:lnTo>
                <a:lnTo>
                  <a:pt x="2590355" y="56997"/>
                </a:lnTo>
                <a:lnTo>
                  <a:pt x="2594821" y="78884"/>
                </a:lnTo>
                <a:lnTo>
                  <a:pt x="2606979" y="96723"/>
                </a:lnTo>
                <a:lnTo>
                  <a:pt x="2624966" y="108732"/>
                </a:lnTo>
                <a:lnTo>
                  <a:pt x="2646921" y="113131"/>
                </a:lnTo>
                <a:lnTo>
                  <a:pt x="2668875" y="108732"/>
                </a:lnTo>
                <a:lnTo>
                  <a:pt x="2686862" y="96723"/>
                </a:lnTo>
                <a:lnTo>
                  <a:pt x="2699020" y="78884"/>
                </a:lnTo>
                <a:lnTo>
                  <a:pt x="2703487" y="56997"/>
                </a:lnTo>
                <a:lnTo>
                  <a:pt x="2703487" y="56133"/>
                </a:lnTo>
                <a:lnTo>
                  <a:pt x="2698838" y="34247"/>
                </a:lnTo>
                <a:lnTo>
                  <a:pt x="2686377" y="16408"/>
                </a:lnTo>
                <a:lnTo>
                  <a:pt x="2668329" y="4398"/>
                </a:lnTo>
                <a:lnTo>
                  <a:pt x="2646921" y="0"/>
                </a:lnTo>
                <a:close/>
              </a:path>
              <a:path w="8402320" h="113664">
                <a:moveTo>
                  <a:pt x="2905950" y="0"/>
                </a:moveTo>
                <a:lnTo>
                  <a:pt x="2884360" y="4398"/>
                </a:lnTo>
                <a:lnTo>
                  <a:pt x="2866332" y="16408"/>
                </a:lnTo>
                <a:lnTo>
                  <a:pt x="2853972" y="34247"/>
                </a:lnTo>
                <a:lnTo>
                  <a:pt x="2849384" y="56133"/>
                </a:lnTo>
                <a:lnTo>
                  <a:pt x="2849384" y="56997"/>
                </a:lnTo>
                <a:lnTo>
                  <a:pt x="2853851" y="78884"/>
                </a:lnTo>
                <a:lnTo>
                  <a:pt x="2866009" y="96723"/>
                </a:lnTo>
                <a:lnTo>
                  <a:pt x="2883996" y="108732"/>
                </a:lnTo>
                <a:lnTo>
                  <a:pt x="2905950" y="113131"/>
                </a:lnTo>
                <a:lnTo>
                  <a:pt x="2927904" y="108732"/>
                </a:lnTo>
                <a:lnTo>
                  <a:pt x="2945892" y="96723"/>
                </a:lnTo>
                <a:lnTo>
                  <a:pt x="2958049" y="78884"/>
                </a:lnTo>
                <a:lnTo>
                  <a:pt x="2962516" y="56997"/>
                </a:lnTo>
                <a:lnTo>
                  <a:pt x="2962516" y="56133"/>
                </a:lnTo>
                <a:lnTo>
                  <a:pt x="2957867" y="34247"/>
                </a:lnTo>
                <a:lnTo>
                  <a:pt x="2945406" y="16408"/>
                </a:lnTo>
                <a:lnTo>
                  <a:pt x="2927358" y="4398"/>
                </a:lnTo>
                <a:lnTo>
                  <a:pt x="2905950" y="0"/>
                </a:lnTo>
                <a:close/>
              </a:path>
              <a:path w="8402320" h="113664">
                <a:moveTo>
                  <a:pt x="3164992" y="0"/>
                </a:moveTo>
                <a:lnTo>
                  <a:pt x="3143402" y="4398"/>
                </a:lnTo>
                <a:lnTo>
                  <a:pt x="3125374" y="16408"/>
                </a:lnTo>
                <a:lnTo>
                  <a:pt x="3113014" y="34247"/>
                </a:lnTo>
                <a:lnTo>
                  <a:pt x="3108426" y="56133"/>
                </a:lnTo>
                <a:lnTo>
                  <a:pt x="3108426" y="56997"/>
                </a:lnTo>
                <a:lnTo>
                  <a:pt x="3112893" y="78884"/>
                </a:lnTo>
                <a:lnTo>
                  <a:pt x="3125050" y="96723"/>
                </a:lnTo>
                <a:lnTo>
                  <a:pt x="3143038" y="108732"/>
                </a:lnTo>
                <a:lnTo>
                  <a:pt x="3164992" y="113131"/>
                </a:lnTo>
                <a:lnTo>
                  <a:pt x="3186946" y="108732"/>
                </a:lnTo>
                <a:lnTo>
                  <a:pt x="3204933" y="96723"/>
                </a:lnTo>
                <a:lnTo>
                  <a:pt x="3217091" y="78884"/>
                </a:lnTo>
                <a:lnTo>
                  <a:pt x="3221558" y="56997"/>
                </a:lnTo>
                <a:lnTo>
                  <a:pt x="3221558" y="56133"/>
                </a:lnTo>
                <a:lnTo>
                  <a:pt x="3216909" y="34247"/>
                </a:lnTo>
                <a:lnTo>
                  <a:pt x="3204448" y="16408"/>
                </a:lnTo>
                <a:lnTo>
                  <a:pt x="3186400" y="4398"/>
                </a:lnTo>
                <a:lnTo>
                  <a:pt x="3164992" y="0"/>
                </a:lnTo>
                <a:close/>
              </a:path>
              <a:path w="8402320" h="113664">
                <a:moveTo>
                  <a:pt x="3424021" y="0"/>
                </a:moveTo>
                <a:lnTo>
                  <a:pt x="3402431" y="4398"/>
                </a:lnTo>
                <a:lnTo>
                  <a:pt x="3384403" y="16408"/>
                </a:lnTo>
                <a:lnTo>
                  <a:pt x="3372043" y="34247"/>
                </a:lnTo>
                <a:lnTo>
                  <a:pt x="3367455" y="56133"/>
                </a:lnTo>
                <a:lnTo>
                  <a:pt x="3367455" y="56997"/>
                </a:lnTo>
                <a:lnTo>
                  <a:pt x="3371922" y="78884"/>
                </a:lnTo>
                <a:lnTo>
                  <a:pt x="3384080" y="96723"/>
                </a:lnTo>
                <a:lnTo>
                  <a:pt x="3402067" y="108732"/>
                </a:lnTo>
                <a:lnTo>
                  <a:pt x="3424021" y="113131"/>
                </a:lnTo>
                <a:lnTo>
                  <a:pt x="3445975" y="108732"/>
                </a:lnTo>
                <a:lnTo>
                  <a:pt x="3463963" y="96723"/>
                </a:lnTo>
                <a:lnTo>
                  <a:pt x="3476120" y="78884"/>
                </a:lnTo>
                <a:lnTo>
                  <a:pt x="3480587" y="56997"/>
                </a:lnTo>
                <a:lnTo>
                  <a:pt x="3480587" y="56133"/>
                </a:lnTo>
                <a:lnTo>
                  <a:pt x="3475938" y="34247"/>
                </a:lnTo>
                <a:lnTo>
                  <a:pt x="3463477" y="16408"/>
                </a:lnTo>
                <a:lnTo>
                  <a:pt x="3445429" y="4398"/>
                </a:lnTo>
                <a:lnTo>
                  <a:pt x="3424021" y="0"/>
                </a:lnTo>
                <a:close/>
              </a:path>
              <a:path w="8402320" h="113664">
                <a:moveTo>
                  <a:pt x="3683063" y="0"/>
                </a:moveTo>
                <a:lnTo>
                  <a:pt x="3661473" y="4398"/>
                </a:lnTo>
                <a:lnTo>
                  <a:pt x="3643445" y="16408"/>
                </a:lnTo>
                <a:lnTo>
                  <a:pt x="3631085" y="34247"/>
                </a:lnTo>
                <a:lnTo>
                  <a:pt x="3626497" y="56133"/>
                </a:lnTo>
                <a:lnTo>
                  <a:pt x="3626497" y="56997"/>
                </a:lnTo>
                <a:lnTo>
                  <a:pt x="3630964" y="78884"/>
                </a:lnTo>
                <a:lnTo>
                  <a:pt x="3643122" y="96723"/>
                </a:lnTo>
                <a:lnTo>
                  <a:pt x="3661109" y="108732"/>
                </a:lnTo>
                <a:lnTo>
                  <a:pt x="3683063" y="113131"/>
                </a:lnTo>
                <a:lnTo>
                  <a:pt x="3705017" y="108732"/>
                </a:lnTo>
                <a:lnTo>
                  <a:pt x="3723005" y="96723"/>
                </a:lnTo>
                <a:lnTo>
                  <a:pt x="3735162" y="78884"/>
                </a:lnTo>
                <a:lnTo>
                  <a:pt x="3739629" y="56997"/>
                </a:lnTo>
                <a:lnTo>
                  <a:pt x="3739629" y="56133"/>
                </a:lnTo>
                <a:lnTo>
                  <a:pt x="3734980" y="34247"/>
                </a:lnTo>
                <a:lnTo>
                  <a:pt x="3722519" y="16408"/>
                </a:lnTo>
                <a:lnTo>
                  <a:pt x="3704471" y="4398"/>
                </a:lnTo>
                <a:lnTo>
                  <a:pt x="3683063" y="0"/>
                </a:lnTo>
                <a:close/>
              </a:path>
              <a:path w="8402320" h="113664">
                <a:moveTo>
                  <a:pt x="3942092" y="0"/>
                </a:moveTo>
                <a:lnTo>
                  <a:pt x="3920502" y="4398"/>
                </a:lnTo>
                <a:lnTo>
                  <a:pt x="3902475" y="16408"/>
                </a:lnTo>
                <a:lnTo>
                  <a:pt x="3890114" y="34247"/>
                </a:lnTo>
                <a:lnTo>
                  <a:pt x="3885526" y="56133"/>
                </a:lnTo>
                <a:lnTo>
                  <a:pt x="3885526" y="56997"/>
                </a:lnTo>
                <a:lnTo>
                  <a:pt x="3889993" y="78884"/>
                </a:lnTo>
                <a:lnTo>
                  <a:pt x="3902151" y="96723"/>
                </a:lnTo>
                <a:lnTo>
                  <a:pt x="3920138" y="108732"/>
                </a:lnTo>
                <a:lnTo>
                  <a:pt x="3942092" y="113131"/>
                </a:lnTo>
                <a:lnTo>
                  <a:pt x="3964047" y="108732"/>
                </a:lnTo>
                <a:lnTo>
                  <a:pt x="3982034" y="96723"/>
                </a:lnTo>
                <a:lnTo>
                  <a:pt x="3994192" y="78884"/>
                </a:lnTo>
                <a:lnTo>
                  <a:pt x="3998658" y="56997"/>
                </a:lnTo>
                <a:lnTo>
                  <a:pt x="3998658" y="56133"/>
                </a:lnTo>
                <a:lnTo>
                  <a:pt x="3994009" y="34247"/>
                </a:lnTo>
                <a:lnTo>
                  <a:pt x="3981548" y="16408"/>
                </a:lnTo>
                <a:lnTo>
                  <a:pt x="3963500" y="4398"/>
                </a:lnTo>
                <a:lnTo>
                  <a:pt x="3942092" y="0"/>
                </a:lnTo>
                <a:close/>
              </a:path>
              <a:path w="8402320" h="113664">
                <a:moveTo>
                  <a:pt x="4201134" y="0"/>
                </a:moveTo>
                <a:lnTo>
                  <a:pt x="4179544" y="4398"/>
                </a:lnTo>
                <a:lnTo>
                  <a:pt x="4161516" y="16408"/>
                </a:lnTo>
                <a:lnTo>
                  <a:pt x="4149156" y="34247"/>
                </a:lnTo>
                <a:lnTo>
                  <a:pt x="4144568" y="56133"/>
                </a:lnTo>
                <a:lnTo>
                  <a:pt x="4144568" y="56997"/>
                </a:lnTo>
                <a:lnTo>
                  <a:pt x="4149035" y="78884"/>
                </a:lnTo>
                <a:lnTo>
                  <a:pt x="4161193" y="96723"/>
                </a:lnTo>
                <a:lnTo>
                  <a:pt x="4179180" y="108732"/>
                </a:lnTo>
                <a:lnTo>
                  <a:pt x="4201134" y="113131"/>
                </a:lnTo>
                <a:lnTo>
                  <a:pt x="4223088" y="108732"/>
                </a:lnTo>
                <a:lnTo>
                  <a:pt x="4241076" y="96723"/>
                </a:lnTo>
                <a:lnTo>
                  <a:pt x="4253233" y="78884"/>
                </a:lnTo>
                <a:lnTo>
                  <a:pt x="4257700" y="56997"/>
                </a:lnTo>
                <a:lnTo>
                  <a:pt x="4257700" y="56133"/>
                </a:lnTo>
                <a:lnTo>
                  <a:pt x="4253051" y="34247"/>
                </a:lnTo>
                <a:lnTo>
                  <a:pt x="4240590" y="16408"/>
                </a:lnTo>
                <a:lnTo>
                  <a:pt x="4222542" y="4398"/>
                </a:lnTo>
                <a:lnTo>
                  <a:pt x="4201134" y="0"/>
                </a:lnTo>
                <a:close/>
              </a:path>
              <a:path w="8402320" h="113664">
                <a:moveTo>
                  <a:pt x="4460163" y="0"/>
                </a:moveTo>
                <a:lnTo>
                  <a:pt x="4438573" y="4398"/>
                </a:lnTo>
                <a:lnTo>
                  <a:pt x="4420546" y="16408"/>
                </a:lnTo>
                <a:lnTo>
                  <a:pt x="4408185" y="34247"/>
                </a:lnTo>
                <a:lnTo>
                  <a:pt x="4403598" y="56133"/>
                </a:lnTo>
                <a:lnTo>
                  <a:pt x="4403598" y="56997"/>
                </a:lnTo>
                <a:lnTo>
                  <a:pt x="4408064" y="78884"/>
                </a:lnTo>
                <a:lnTo>
                  <a:pt x="4420222" y="96723"/>
                </a:lnTo>
                <a:lnTo>
                  <a:pt x="4438209" y="108732"/>
                </a:lnTo>
                <a:lnTo>
                  <a:pt x="4460163" y="113131"/>
                </a:lnTo>
                <a:lnTo>
                  <a:pt x="4482118" y="108732"/>
                </a:lnTo>
                <a:lnTo>
                  <a:pt x="4500105" y="96723"/>
                </a:lnTo>
                <a:lnTo>
                  <a:pt x="4512263" y="78884"/>
                </a:lnTo>
                <a:lnTo>
                  <a:pt x="4516729" y="56997"/>
                </a:lnTo>
                <a:lnTo>
                  <a:pt x="4516729" y="56133"/>
                </a:lnTo>
                <a:lnTo>
                  <a:pt x="4512081" y="34247"/>
                </a:lnTo>
                <a:lnTo>
                  <a:pt x="4499619" y="16408"/>
                </a:lnTo>
                <a:lnTo>
                  <a:pt x="4481571" y="4398"/>
                </a:lnTo>
                <a:lnTo>
                  <a:pt x="4460163" y="0"/>
                </a:lnTo>
                <a:close/>
              </a:path>
              <a:path w="8402320" h="113664">
                <a:moveTo>
                  <a:pt x="4719205" y="0"/>
                </a:moveTo>
                <a:lnTo>
                  <a:pt x="4697615" y="4398"/>
                </a:lnTo>
                <a:lnTo>
                  <a:pt x="4679588" y="16408"/>
                </a:lnTo>
                <a:lnTo>
                  <a:pt x="4667227" y="34247"/>
                </a:lnTo>
                <a:lnTo>
                  <a:pt x="4662639" y="56133"/>
                </a:lnTo>
                <a:lnTo>
                  <a:pt x="4662639" y="56997"/>
                </a:lnTo>
                <a:lnTo>
                  <a:pt x="4667106" y="78884"/>
                </a:lnTo>
                <a:lnTo>
                  <a:pt x="4679264" y="96723"/>
                </a:lnTo>
                <a:lnTo>
                  <a:pt x="4697251" y="108732"/>
                </a:lnTo>
                <a:lnTo>
                  <a:pt x="4719205" y="113131"/>
                </a:lnTo>
                <a:lnTo>
                  <a:pt x="4741160" y="108732"/>
                </a:lnTo>
                <a:lnTo>
                  <a:pt x="4759147" y="96723"/>
                </a:lnTo>
                <a:lnTo>
                  <a:pt x="4771305" y="78884"/>
                </a:lnTo>
                <a:lnTo>
                  <a:pt x="4775771" y="56997"/>
                </a:lnTo>
                <a:lnTo>
                  <a:pt x="4775771" y="56133"/>
                </a:lnTo>
                <a:lnTo>
                  <a:pt x="4771122" y="34247"/>
                </a:lnTo>
                <a:lnTo>
                  <a:pt x="4758661" y="16408"/>
                </a:lnTo>
                <a:lnTo>
                  <a:pt x="4740613" y="4398"/>
                </a:lnTo>
                <a:lnTo>
                  <a:pt x="4719205" y="0"/>
                </a:lnTo>
                <a:close/>
              </a:path>
              <a:path w="8402320" h="113664">
                <a:moveTo>
                  <a:pt x="4978234" y="0"/>
                </a:moveTo>
                <a:lnTo>
                  <a:pt x="4956644" y="4398"/>
                </a:lnTo>
                <a:lnTo>
                  <a:pt x="4938617" y="16408"/>
                </a:lnTo>
                <a:lnTo>
                  <a:pt x="4926256" y="34247"/>
                </a:lnTo>
                <a:lnTo>
                  <a:pt x="4921669" y="56133"/>
                </a:lnTo>
                <a:lnTo>
                  <a:pt x="4921669" y="56997"/>
                </a:lnTo>
                <a:lnTo>
                  <a:pt x="4926135" y="78884"/>
                </a:lnTo>
                <a:lnTo>
                  <a:pt x="4938293" y="96723"/>
                </a:lnTo>
                <a:lnTo>
                  <a:pt x="4956280" y="108732"/>
                </a:lnTo>
                <a:lnTo>
                  <a:pt x="4978234" y="113131"/>
                </a:lnTo>
                <a:lnTo>
                  <a:pt x="5000189" y="108732"/>
                </a:lnTo>
                <a:lnTo>
                  <a:pt x="5018176" y="96723"/>
                </a:lnTo>
                <a:lnTo>
                  <a:pt x="5030334" y="78884"/>
                </a:lnTo>
                <a:lnTo>
                  <a:pt x="5034800" y="56997"/>
                </a:lnTo>
                <a:lnTo>
                  <a:pt x="5034800" y="56133"/>
                </a:lnTo>
                <a:lnTo>
                  <a:pt x="5030152" y="34247"/>
                </a:lnTo>
                <a:lnTo>
                  <a:pt x="5017690" y="16408"/>
                </a:lnTo>
                <a:lnTo>
                  <a:pt x="4999642" y="4398"/>
                </a:lnTo>
                <a:lnTo>
                  <a:pt x="4978234" y="0"/>
                </a:lnTo>
                <a:close/>
              </a:path>
              <a:path w="8402320" h="113664">
                <a:moveTo>
                  <a:pt x="5237276" y="0"/>
                </a:moveTo>
                <a:lnTo>
                  <a:pt x="5215686" y="4398"/>
                </a:lnTo>
                <a:lnTo>
                  <a:pt x="5197659" y="16408"/>
                </a:lnTo>
                <a:lnTo>
                  <a:pt x="5185298" y="34247"/>
                </a:lnTo>
                <a:lnTo>
                  <a:pt x="5180711" y="56133"/>
                </a:lnTo>
                <a:lnTo>
                  <a:pt x="5180711" y="56997"/>
                </a:lnTo>
                <a:lnTo>
                  <a:pt x="5185177" y="78884"/>
                </a:lnTo>
                <a:lnTo>
                  <a:pt x="5197335" y="96723"/>
                </a:lnTo>
                <a:lnTo>
                  <a:pt x="5215322" y="108732"/>
                </a:lnTo>
                <a:lnTo>
                  <a:pt x="5237276" y="113131"/>
                </a:lnTo>
                <a:lnTo>
                  <a:pt x="5259231" y="108732"/>
                </a:lnTo>
                <a:lnTo>
                  <a:pt x="5277218" y="96723"/>
                </a:lnTo>
                <a:lnTo>
                  <a:pt x="5289376" y="78884"/>
                </a:lnTo>
                <a:lnTo>
                  <a:pt x="5293842" y="56997"/>
                </a:lnTo>
                <a:lnTo>
                  <a:pt x="5293842" y="56133"/>
                </a:lnTo>
                <a:lnTo>
                  <a:pt x="5289194" y="34247"/>
                </a:lnTo>
                <a:lnTo>
                  <a:pt x="5276732" y="16408"/>
                </a:lnTo>
                <a:lnTo>
                  <a:pt x="5258684" y="4398"/>
                </a:lnTo>
                <a:lnTo>
                  <a:pt x="5237276" y="0"/>
                </a:lnTo>
                <a:close/>
              </a:path>
              <a:path w="8402320" h="113664">
                <a:moveTo>
                  <a:pt x="5496306" y="0"/>
                </a:moveTo>
                <a:lnTo>
                  <a:pt x="5474716" y="4398"/>
                </a:lnTo>
                <a:lnTo>
                  <a:pt x="5456688" y="16408"/>
                </a:lnTo>
                <a:lnTo>
                  <a:pt x="5444328" y="34247"/>
                </a:lnTo>
                <a:lnTo>
                  <a:pt x="5439740" y="56133"/>
                </a:lnTo>
                <a:lnTo>
                  <a:pt x="5439740" y="56997"/>
                </a:lnTo>
                <a:lnTo>
                  <a:pt x="5444206" y="78884"/>
                </a:lnTo>
                <a:lnTo>
                  <a:pt x="5456364" y="96723"/>
                </a:lnTo>
                <a:lnTo>
                  <a:pt x="5474351" y="108732"/>
                </a:lnTo>
                <a:lnTo>
                  <a:pt x="5496306" y="113131"/>
                </a:lnTo>
                <a:lnTo>
                  <a:pt x="5518260" y="108732"/>
                </a:lnTo>
                <a:lnTo>
                  <a:pt x="5536247" y="96723"/>
                </a:lnTo>
                <a:lnTo>
                  <a:pt x="5548405" y="78884"/>
                </a:lnTo>
                <a:lnTo>
                  <a:pt x="5552871" y="56997"/>
                </a:lnTo>
                <a:lnTo>
                  <a:pt x="5552871" y="56133"/>
                </a:lnTo>
                <a:lnTo>
                  <a:pt x="5548223" y="34247"/>
                </a:lnTo>
                <a:lnTo>
                  <a:pt x="5535761" y="16408"/>
                </a:lnTo>
                <a:lnTo>
                  <a:pt x="5517713" y="4398"/>
                </a:lnTo>
                <a:lnTo>
                  <a:pt x="5496306" y="0"/>
                </a:lnTo>
                <a:close/>
              </a:path>
              <a:path w="8402320" h="113664">
                <a:moveTo>
                  <a:pt x="5755347" y="0"/>
                </a:moveTo>
                <a:lnTo>
                  <a:pt x="5733757" y="4398"/>
                </a:lnTo>
                <a:lnTo>
                  <a:pt x="5715730" y="16408"/>
                </a:lnTo>
                <a:lnTo>
                  <a:pt x="5703369" y="34247"/>
                </a:lnTo>
                <a:lnTo>
                  <a:pt x="5698782" y="56133"/>
                </a:lnTo>
                <a:lnTo>
                  <a:pt x="5698782" y="56997"/>
                </a:lnTo>
                <a:lnTo>
                  <a:pt x="5703248" y="78884"/>
                </a:lnTo>
                <a:lnTo>
                  <a:pt x="5715406" y="96723"/>
                </a:lnTo>
                <a:lnTo>
                  <a:pt x="5733393" y="108732"/>
                </a:lnTo>
                <a:lnTo>
                  <a:pt x="5755347" y="113131"/>
                </a:lnTo>
                <a:lnTo>
                  <a:pt x="5777302" y="108732"/>
                </a:lnTo>
                <a:lnTo>
                  <a:pt x="5795289" y="96723"/>
                </a:lnTo>
                <a:lnTo>
                  <a:pt x="5807447" y="78884"/>
                </a:lnTo>
                <a:lnTo>
                  <a:pt x="5811913" y="56997"/>
                </a:lnTo>
                <a:lnTo>
                  <a:pt x="5811913" y="56133"/>
                </a:lnTo>
                <a:lnTo>
                  <a:pt x="5807265" y="34247"/>
                </a:lnTo>
                <a:lnTo>
                  <a:pt x="5794803" y="16408"/>
                </a:lnTo>
                <a:lnTo>
                  <a:pt x="5776755" y="4398"/>
                </a:lnTo>
                <a:lnTo>
                  <a:pt x="5755347" y="0"/>
                </a:lnTo>
                <a:close/>
              </a:path>
              <a:path w="8402320" h="113664">
                <a:moveTo>
                  <a:pt x="6014377" y="0"/>
                </a:moveTo>
                <a:lnTo>
                  <a:pt x="5992787" y="4398"/>
                </a:lnTo>
                <a:lnTo>
                  <a:pt x="5974759" y="16408"/>
                </a:lnTo>
                <a:lnTo>
                  <a:pt x="5962399" y="34247"/>
                </a:lnTo>
                <a:lnTo>
                  <a:pt x="5957811" y="56133"/>
                </a:lnTo>
                <a:lnTo>
                  <a:pt x="5957811" y="56997"/>
                </a:lnTo>
                <a:lnTo>
                  <a:pt x="5962277" y="78884"/>
                </a:lnTo>
                <a:lnTo>
                  <a:pt x="5974435" y="96723"/>
                </a:lnTo>
                <a:lnTo>
                  <a:pt x="5992422" y="108732"/>
                </a:lnTo>
                <a:lnTo>
                  <a:pt x="6014377" y="113131"/>
                </a:lnTo>
                <a:lnTo>
                  <a:pt x="6036331" y="108732"/>
                </a:lnTo>
                <a:lnTo>
                  <a:pt x="6054318" y="96723"/>
                </a:lnTo>
                <a:lnTo>
                  <a:pt x="6066476" y="78884"/>
                </a:lnTo>
                <a:lnTo>
                  <a:pt x="6070942" y="56997"/>
                </a:lnTo>
                <a:lnTo>
                  <a:pt x="6070942" y="56133"/>
                </a:lnTo>
                <a:lnTo>
                  <a:pt x="6066294" y="34247"/>
                </a:lnTo>
                <a:lnTo>
                  <a:pt x="6053832" y="16408"/>
                </a:lnTo>
                <a:lnTo>
                  <a:pt x="6035784" y="4398"/>
                </a:lnTo>
                <a:lnTo>
                  <a:pt x="6014377" y="0"/>
                </a:lnTo>
                <a:close/>
              </a:path>
              <a:path w="8402320" h="113664">
                <a:moveTo>
                  <a:pt x="6273419" y="0"/>
                </a:moveTo>
                <a:lnTo>
                  <a:pt x="6251829" y="4398"/>
                </a:lnTo>
                <a:lnTo>
                  <a:pt x="6233801" y="16408"/>
                </a:lnTo>
                <a:lnTo>
                  <a:pt x="6221441" y="34247"/>
                </a:lnTo>
                <a:lnTo>
                  <a:pt x="6216853" y="56133"/>
                </a:lnTo>
                <a:lnTo>
                  <a:pt x="6216853" y="56997"/>
                </a:lnTo>
                <a:lnTo>
                  <a:pt x="6221319" y="78884"/>
                </a:lnTo>
                <a:lnTo>
                  <a:pt x="6233477" y="96723"/>
                </a:lnTo>
                <a:lnTo>
                  <a:pt x="6251464" y="108732"/>
                </a:lnTo>
                <a:lnTo>
                  <a:pt x="6273419" y="113131"/>
                </a:lnTo>
                <a:lnTo>
                  <a:pt x="6295373" y="108732"/>
                </a:lnTo>
                <a:lnTo>
                  <a:pt x="6313360" y="96723"/>
                </a:lnTo>
                <a:lnTo>
                  <a:pt x="6325518" y="78884"/>
                </a:lnTo>
                <a:lnTo>
                  <a:pt x="6329984" y="56997"/>
                </a:lnTo>
                <a:lnTo>
                  <a:pt x="6329984" y="56133"/>
                </a:lnTo>
                <a:lnTo>
                  <a:pt x="6325336" y="34247"/>
                </a:lnTo>
                <a:lnTo>
                  <a:pt x="6312874" y="16408"/>
                </a:lnTo>
                <a:lnTo>
                  <a:pt x="6294826" y="4398"/>
                </a:lnTo>
                <a:lnTo>
                  <a:pt x="6273419" y="0"/>
                </a:lnTo>
                <a:close/>
              </a:path>
              <a:path w="8402320" h="113664">
                <a:moveTo>
                  <a:pt x="6532448" y="0"/>
                </a:moveTo>
                <a:lnTo>
                  <a:pt x="6510858" y="4398"/>
                </a:lnTo>
                <a:lnTo>
                  <a:pt x="6492830" y="16408"/>
                </a:lnTo>
                <a:lnTo>
                  <a:pt x="6480470" y="34247"/>
                </a:lnTo>
                <a:lnTo>
                  <a:pt x="6475882" y="56133"/>
                </a:lnTo>
                <a:lnTo>
                  <a:pt x="6475882" y="56997"/>
                </a:lnTo>
                <a:lnTo>
                  <a:pt x="6480348" y="78884"/>
                </a:lnTo>
                <a:lnTo>
                  <a:pt x="6492506" y="96723"/>
                </a:lnTo>
                <a:lnTo>
                  <a:pt x="6510493" y="108732"/>
                </a:lnTo>
                <a:lnTo>
                  <a:pt x="6532448" y="113131"/>
                </a:lnTo>
                <a:lnTo>
                  <a:pt x="6554402" y="108732"/>
                </a:lnTo>
                <a:lnTo>
                  <a:pt x="6572389" y="96723"/>
                </a:lnTo>
                <a:lnTo>
                  <a:pt x="6584547" y="78884"/>
                </a:lnTo>
                <a:lnTo>
                  <a:pt x="6589013" y="56997"/>
                </a:lnTo>
                <a:lnTo>
                  <a:pt x="6589013" y="56133"/>
                </a:lnTo>
                <a:lnTo>
                  <a:pt x="6584365" y="34247"/>
                </a:lnTo>
                <a:lnTo>
                  <a:pt x="6571903" y="16408"/>
                </a:lnTo>
                <a:lnTo>
                  <a:pt x="6553856" y="4398"/>
                </a:lnTo>
                <a:lnTo>
                  <a:pt x="6532448" y="0"/>
                </a:lnTo>
                <a:close/>
              </a:path>
              <a:path w="8402320" h="113664">
                <a:moveTo>
                  <a:pt x="6791490" y="0"/>
                </a:moveTo>
                <a:lnTo>
                  <a:pt x="6769900" y="4398"/>
                </a:lnTo>
                <a:lnTo>
                  <a:pt x="6751872" y="16408"/>
                </a:lnTo>
                <a:lnTo>
                  <a:pt x="6739512" y="34247"/>
                </a:lnTo>
                <a:lnTo>
                  <a:pt x="6734924" y="56133"/>
                </a:lnTo>
                <a:lnTo>
                  <a:pt x="6734924" y="56997"/>
                </a:lnTo>
                <a:lnTo>
                  <a:pt x="6739390" y="78884"/>
                </a:lnTo>
                <a:lnTo>
                  <a:pt x="6751548" y="96723"/>
                </a:lnTo>
                <a:lnTo>
                  <a:pt x="6769535" y="108732"/>
                </a:lnTo>
                <a:lnTo>
                  <a:pt x="6791490" y="113131"/>
                </a:lnTo>
                <a:lnTo>
                  <a:pt x="6813444" y="108732"/>
                </a:lnTo>
                <a:lnTo>
                  <a:pt x="6831431" y="96723"/>
                </a:lnTo>
                <a:lnTo>
                  <a:pt x="6843589" y="78884"/>
                </a:lnTo>
                <a:lnTo>
                  <a:pt x="6848055" y="56997"/>
                </a:lnTo>
                <a:lnTo>
                  <a:pt x="6848055" y="56133"/>
                </a:lnTo>
                <a:lnTo>
                  <a:pt x="6843407" y="34247"/>
                </a:lnTo>
                <a:lnTo>
                  <a:pt x="6830945" y="16408"/>
                </a:lnTo>
                <a:lnTo>
                  <a:pt x="6812897" y="4398"/>
                </a:lnTo>
                <a:lnTo>
                  <a:pt x="6791490" y="0"/>
                </a:lnTo>
                <a:close/>
              </a:path>
              <a:path w="8402320" h="113664">
                <a:moveTo>
                  <a:pt x="7050519" y="0"/>
                </a:moveTo>
                <a:lnTo>
                  <a:pt x="7028929" y="4398"/>
                </a:lnTo>
                <a:lnTo>
                  <a:pt x="7010901" y="16408"/>
                </a:lnTo>
                <a:lnTo>
                  <a:pt x="6998541" y="34247"/>
                </a:lnTo>
                <a:lnTo>
                  <a:pt x="6993953" y="56133"/>
                </a:lnTo>
                <a:lnTo>
                  <a:pt x="6993953" y="56997"/>
                </a:lnTo>
                <a:lnTo>
                  <a:pt x="6998419" y="78884"/>
                </a:lnTo>
                <a:lnTo>
                  <a:pt x="7010577" y="96723"/>
                </a:lnTo>
                <a:lnTo>
                  <a:pt x="7028564" y="108732"/>
                </a:lnTo>
                <a:lnTo>
                  <a:pt x="7050519" y="113131"/>
                </a:lnTo>
                <a:lnTo>
                  <a:pt x="7072473" y="108732"/>
                </a:lnTo>
                <a:lnTo>
                  <a:pt x="7090460" y="96723"/>
                </a:lnTo>
                <a:lnTo>
                  <a:pt x="7102618" y="78884"/>
                </a:lnTo>
                <a:lnTo>
                  <a:pt x="7107085" y="56997"/>
                </a:lnTo>
                <a:lnTo>
                  <a:pt x="7107085" y="56133"/>
                </a:lnTo>
                <a:lnTo>
                  <a:pt x="7102436" y="34247"/>
                </a:lnTo>
                <a:lnTo>
                  <a:pt x="7089975" y="16408"/>
                </a:lnTo>
                <a:lnTo>
                  <a:pt x="7071927" y="4398"/>
                </a:lnTo>
                <a:lnTo>
                  <a:pt x="7050519" y="0"/>
                </a:lnTo>
                <a:close/>
              </a:path>
              <a:path w="8402320" h="113664">
                <a:moveTo>
                  <a:pt x="7309561" y="0"/>
                </a:moveTo>
                <a:lnTo>
                  <a:pt x="7287971" y="4398"/>
                </a:lnTo>
                <a:lnTo>
                  <a:pt x="7269943" y="16408"/>
                </a:lnTo>
                <a:lnTo>
                  <a:pt x="7257583" y="34247"/>
                </a:lnTo>
                <a:lnTo>
                  <a:pt x="7252995" y="56133"/>
                </a:lnTo>
                <a:lnTo>
                  <a:pt x="7252995" y="56997"/>
                </a:lnTo>
                <a:lnTo>
                  <a:pt x="7257461" y="78884"/>
                </a:lnTo>
                <a:lnTo>
                  <a:pt x="7269619" y="96723"/>
                </a:lnTo>
                <a:lnTo>
                  <a:pt x="7287606" y="108732"/>
                </a:lnTo>
                <a:lnTo>
                  <a:pt x="7309561" y="113131"/>
                </a:lnTo>
                <a:lnTo>
                  <a:pt x="7331515" y="108732"/>
                </a:lnTo>
                <a:lnTo>
                  <a:pt x="7349502" y="96723"/>
                </a:lnTo>
                <a:lnTo>
                  <a:pt x="7361660" y="78884"/>
                </a:lnTo>
                <a:lnTo>
                  <a:pt x="7366127" y="56997"/>
                </a:lnTo>
                <a:lnTo>
                  <a:pt x="7366127" y="56133"/>
                </a:lnTo>
                <a:lnTo>
                  <a:pt x="7361478" y="34247"/>
                </a:lnTo>
                <a:lnTo>
                  <a:pt x="7349016" y="16408"/>
                </a:lnTo>
                <a:lnTo>
                  <a:pt x="7330969" y="4398"/>
                </a:lnTo>
                <a:lnTo>
                  <a:pt x="7309561" y="0"/>
                </a:lnTo>
                <a:close/>
              </a:path>
              <a:path w="8402320" h="113664">
                <a:moveTo>
                  <a:pt x="7568590" y="0"/>
                </a:moveTo>
                <a:lnTo>
                  <a:pt x="7547000" y="4398"/>
                </a:lnTo>
                <a:lnTo>
                  <a:pt x="7528972" y="16408"/>
                </a:lnTo>
                <a:lnTo>
                  <a:pt x="7516612" y="34247"/>
                </a:lnTo>
                <a:lnTo>
                  <a:pt x="7512024" y="56133"/>
                </a:lnTo>
                <a:lnTo>
                  <a:pt x="7512024" y="56997"/>
                </a:lnTo>
                <a:lnTo>
                  <a:pt x="7516491" y="78884"/>
                </a:lnTo>
                <a:lnTo>
                  <a:pt x="7528648" y="96723"/>
                </a:lnTo>
                <a:lnTo>
                  <a:pt x="7546636" y="108732"/>
                </a:lnTo>
                <a:lnTo>
                  <a:pt x="7568590" y="113131"/>
                </a:lnTo>
                <a:lnTo>
                  <a:pt x="7590544" y="108732"/>
                </a:lnTo>
                <a:lnTo>
                  <a:pt x="7608531" y="96723"/>
                </a:lnTo>
                <a:lnTo>
                  <a:pt x="7620689" y="78884"/>
                </a:lnTo>
                <a:lnTo>
                  <a:pt x="7625156" y="56997"/>
                </a:lnTo>
                <a:lnTo>
                  <a:pt x="7625156" y="56133"/>
                </a:lnTo>
                <a:lnTo>
                  <a:pt x="7620507" y="34247"/>
                </a:lnTo>
                <a:lnTo>
                  <a:pt x="7608046" y="16408"/>
                </a:lnTo>
                <a:lnTo>
                  <a:pt x="7589998" y="4398"/>
                </a:lnTo>
                <a:lnTo>
                  <a:pt x="7568590" y="0"/>
                </a:lnTo>
                <a:close/>
              </a:path>
              <a:path w="8402320" h="113664">
                <a:moveTo>
                  <a:pt x="7827632" y="0"/>
                </a:moveTo>
                <a:lnTo>
                  <a:pt x="7806042" y="4398"/>
                </a:lnTo>
                <a:lnTo>
                  <a:pt x="7788014" y="16408"/>
                </a:lnTo>
                <a:lnTo>
                  <a:pt x="7775654" y="34247"/>
                </a:lnTo>
                <a:lnTo>
                  <a:pt x="7771066" y="56133"/>
                </a:lnTo>
                <a:lnTo>
                  <a:pt x="7771066" y="56997"/>
                </a:lnTo>
                <a:lnTo>
                  <a:pt x="7775532" y="78884"/>
                </a:lnTo>
                <a:lnTo>
                  <a:pt x="7787690" y="96723"/>
                </a:lnTo>
                <a:lnTo>
                  <a:pt x="7805677" y="108732"/>
                </a:lnTo>
                <a:lnTo>
                  <a:pt x="7827632" y="113131"/>
                </a:lnTo>
                <a:lnTo>
                  <a:pt x="7849586" y="108732"/>
                </a:lnTo>
                <a:lnTo>
                  <a:pt x="7867573" y="96723"/>
                </a:lnTo>
                <a:lnTo>
                  <a:pt x="7879731" y="78884"/>
                </a:lnTo>
                <a:lnTo>
                  <a:pt x="7884198" y="56997"/>
                </a:lnTo>
                <a:lnTo>
                  <a:pt x="7884198" y="56133"/>
                </a:lnTo>
                <a:lnTo>
                  <a:pt x="7879549" y="34247"/>
                </a:lnTo>
                <a:lnTo>
                  <a:pt x="7867088" y="16408"/>
                </a:lnTo>
                <a:lnTo>
                  <a:pt x="7849040" y="4398"/>
                </a:lnTo>
                <a:lnTo>
                  <a:pt x="7827632" y="0"/>
                </a:lnTo>
                <a:close/>
              </a:path>
              <a:path w="8402320" h="113664">
                <a:moveTo>
                  <a:pt x="8086661" y="0"/>
                </a:moveTo>
                <a:lnTo>
                  <a:pt x="8065071" y="4398"/>
                </a:lnTo>
                <a:lnTo>
                  <a:pt x="8047043" y="16408"/>
                </a:lnTo>
                <a:lnTo>
                  <a:pt x="8034683" y="34247"/>
                </a:lnTo>
                <a:lnTo>
                  <a:pt x="8030095" y="56133"/>
                </a:lnTo>
                <a:lnTo>
                  <a:pt x="8030095" y="56997"/>
                </a:lnTo>
                <a:lnTo>
                  <a:pt x="8034562" y="78884"/>
                </a:lnTo>
                <a:lnTo>
                  <a:pt x="8046719" y="96723"/>
                </a:lnTo>
                <a:lnTo>
                  <a:pt x="8064707" y="108732"/>
                </a:lnTo>
                <a:lnTo>
                  <a:pt x="8086661" y="113131"/>
                </a:lnTo>
                <a:lnTo>
                  <a:pt x="8108615" y="108732"/>
                </a:lnTo>
                <a:lnTo>
                  <a:pt x="8126603" y="96723"/>
                </a:lnTo>
                <a:lnTo>
                  <a:pt x="8138760" y="78884"/>
                </a:lnTo>
                <a:lnTo>
                  <a:pt x="8143227" y="56997"/>
                </a:lnTo>
                <a:lnTo>
                  <a:pt x="8143227" y="56133"/>
                </a:lnTo>
                <a:lnTo>
                  <a:pt x="8138578" y="34247"/>
                </a:lnTo>
                <a:lnTo>
                  <a:pt x="8126117" y="16408"/>
                </a:lnTo>
                <a:lnTo>
                  <a:pt x="8108069" y="4398"/>
                </a:lnTo>
                <a:lnTo>
                  <a:pt x="8086661" y="0"/>
                </a:lnTo>
                <a:close/>
              </a:path>
              <a:path w="8402320" h="113664">
                <a:moveTo>
                  <a:pt x="8345703" y="0"/>
                </a:moveTo>
                <a:lnTo>
                  <a:pt x="8324113" y="4398"/>
                </a:lnTo>
                <a:lnTo>
                  <a:pt x="8306085" y="16408"/>
                </a:lnTo>
                <a:lnTo>
                  <a:pt x="8293725" y="34247"/>
                </a:lnTo>
                <a:lnTo>
                  <a:pt x="8289137" y="56133"/>
                </a:lnTo>
                <a:lnTo>
                  <a:pt x="8289137" y="56997"/>
                </a:lnTo>
                <a:lnTo>
                  <a:pt x="8293604" y="78884"/>
                </a:lnTo>
                <a:lnTo>
                  <a:pt x="8305761" y="96723"/>
                </a:lnTo>
                <a:lnTo>
                  <a:pt x="8323749" y="108732"/>
                </a:lnTo>
                <a:lnTo>
                  <a:pt x="8345703" y="113131"/>
                </a:lnTo>
                <a:lnTo>
                  <a:pt x="8367657" y="108732"/>
                </a:lnTo>
                <a:lnTo>
                  <a:pt x="8385644" y="96723"/>
                </a:lnTo>
                <a:lnTo>
                  <a:pt x="8397802" y="78884"/>
                </a:lnTo>
                <a:lnTo>
                  <a:pt x="8402269" y="56997"/>
                </a:lnTo>
                <a:lnTo>
                  <a:pt x="8402269" y="56133"/>
                </a:lnTo>
                <a:lnTo>
                  <a:pt x="8397620" y="34247"/>
                </a:lnTo>
                <a:lnTo>
                  <a:pt x="8385159" y="16408"/>
                </a:lnTo>
                <a:lnTo>
                  <a:pt x="8367111" y="4398"/>
                </a:lnTo>
                <a:lnTo>
                  <a:pt x="8345703" y="0"/>
                </a:lnTo>
                <a:close/>
              </a:path>
            </a:pathLst>
          </a:custGeom>
          <a:solidFill>
            <a:srgbClr val="E2E3E4"/>
          </a:solidFill>
        </p:spPr>
        <p:txBody>
          <a:bodyPr wrap="square" lIns="0" tIns="0" rIns="0" bIns="0" rtlCol="0"/>
          <a:lstStyle/>
          <a:p>
            <a:endParaRPr sz="1800"/>
          </a:p>
        </p:txBody>
      </p:sp>
      <p:sp>
        <p:nvSpPr>
          <p:cNvPr id="11" name="object 3"/>
          <p:cNvSpPr/>
          <p:nvPr/>
        </p:nvSpPr>
        <p:spPr>
          <a:xfrm>
            <a:off x="494490" y="6143980"/>
            <a:ext cx="11203093" cy="113664"/>
          </a:xfrm>
          <a:custGeom>
            <a:avLst/>
            <a:gdLst/>
            <a:ahLst/>
            <a:cxnLst/>
            <a:rect l="l" t="t" r="r" b="b"/>
            <a:pathLst>
              <a:path w="8402320" h="113664">
                <a:moveTo>
                  <a:pt x="56565" y="0"/>
                </a:moveTo>
                <a:lnTo>
                  <a:pt x="34975" y="4398"/>
                </a:lnTo>
                <a:lnTo>
                  <a:pt x="16948" y="16408"/>
                </a:lnTo>
                <a:lnTo>
                  <a:pt x="4587" y="34247"/>
                </a:lnTo>
                <a:lnTo>
                  <a:pt x="0" y="56133"/>
                </a:lnTo>
                <a:lnTo>
                  <a:pt x="0" y="56997"/>
                </a:lnTo>
                <a:lnTo>
                  <a:pt x="4466" y="78884"/>
                </a:lnTo>
                <a:lnTo>
                  <a:pt x="16624" y="96723"/>
                </a:lnTo>
                <a:lnTo>
                  <a:pt x="34611" y="108732"/>
                </a:lnTo>
                <a:lnTo>
                  <a:pt x="56565" y="113131"/>
                </a:lnTo>
                <a:lnTo>
                  <a:pt x="78520" y="108732"/>
                </a:lnTo>
                <a:lnTo>
                  <a:pt x="96507" y="96723"/>
                </a:lnTo>
                <a:lnTo>
                  <a:pt x="108665" y="78884"/>
                </a:lnTo>
                <a:lnTo>
                  <a:pt x="113131" y="56997"/>
                </a:lnTo>
                <a:lnTo>
                  <a:pt x="113131" y="56133"/>
                </a:lnTo>
                <a:lnTo>
                  <a:pt x="108483" y="34247"/>
                </a:lnTo>
                <a:lnTo>
                  <a:pt x="96021" y="16408"/>
                </a:lnTo>
                <a:lnTo>
                  <a:pt x="77973" y="4398"/>
                </a:lnTo>
                <a:lnTo>
                  <a:pt x="56565" y="0"/>
                </a:lnTo>
                <a:close/>
              </a:path>
              <a:path w="8402320" h="113664">
                <a:moveTo>
                  <a:pt x="315595" y="0"/>
                </a:moveTo>
                <a:lnTo>
                  <a:pt x="294005" y="4398"/>
                </a:lnTo>
                <a:lnTo>
                  <a:pt x="275977" y="16408"/>
                </a:lnTo>
                <a:lnTo>
                  <a:pt x="263617" y="34247"/>
                </a:lnTo>
                <a:lnTo>
                  <a:pt x="259029" y="56133"/>
                </a:lnTo>
                <a:lnTo>
                  <a:pt x="259029" y="56997"/>
                </a:lnTo>
                <a:lnTo>
                  <a:pt x="263495" y="78884"/>
                </a:lnTo>
                <a:lnTo>
                  <a:pt x="275653" y="96723"/>
                </a:lnTo>
                <a:lnTo>
                  <a:pt x="293640" y="108732"/>
                </a:lnTo>
                <a:lnTo>
                  <a:pt x="315595" y="113131"/>
                </a:lnTo>
                <a:lnTo>
                  <a:pt x="337549" y="108732"/>
                </a:lnTo>
                <a:lnTo>
                  <a:pt x="355536" y="96723"/>
                </a:lnTo>
                <a:lnTo>
                  <a:pt x="367694" y="78884"/>
                </a:lnTo>
                <a:lnTo>
                  <a:pt x="372160" y="56997"/>
                </a:lnTo>
                <a:lnTo>
                  <a:pt x="372160" y="56133"/>
                </a:lnTo>
                <a:lnTo>
                  <a:pt x="367512" y="34247"/>
                </a:lnTo>
                <a:lnTo>
                  <a:pt x="355050" y="16408"/>
                </a:lnTo>
                <a:lnTo>
                  <a:pt x="337002" y="4398"/>
                </a:lnTo>
                <a:lnTo>
                  <a:pt x="315595" y="0"/>
                </a:lnTo>
                <a:close/>
              </a:path>
              <a:path w="8402320" h="113664">
                <a:moveTo>
                  <a:pt x="574636" y="0"/>
                </a:moveTo>
                <a:lnTo>
                  <a:pt x="553046" y="4398"/>
                </a:lnTo>
                <a:lnTo>
                  <a:pt x="535019" y="16408"/>
                </a:lnTo>
                <a:lnTo>
                  <a:pt x="522658" y="34247"/>
                </a:lnTo>
                <a:lnTo>
                  <a:pt x="518071" y="56133"/>
                </a:lnTo>
                <a:lnTo>
                  <a:pt x="518071" y="56997"/>
                </a:lnTo>
                <a:lnTo>
                  <a:pt x="522537" y="78884"/>
                </a:lnTo>
                <a:lnTo>
                  <a:pt x="534695" y="96723"/>
                </a:lnTo>
                <a:lnTo>
                  <a:pt x="552682" y="108732"/>
                </a:lnTo>
                <a:lnTo>
                  <a:pt x="574636" y="113131"/>
                </a:lnTo>
                <a:lnTo>
                  <a:pt x="596591" y="108732"/>
                </a:lnTo>
                <a:lnTo>
                  <a:pt x="614578" y="96723"/>
                </a:lnTo>
                <a:lnTo>
                  <a:pt x="626736" y="78884"/>
                </a:lnTo>
                <a:lnTo>
                  <a:pt x="631202" y="56997"/>
                </a:lnTo>
                <a:lnTo>
                  <a:pt x="631202" y="56133"/>
                </a:lnTo>
                <a:lnTo>
                  <a:pt x="626554" y="34247"/>
                </a:lnTo>
                <a:lnTo>
                  <a:pt x="614092" y="16408"/>
                </a:lnTo>
                <a:lnTo>
                  <a:pt x="596044" y="4398"/>
                </a:lnTo>
                <a:lnTo>
                  <a:pt x="574636" y="0"/>
                </a:lnTo>
                <a:close/>
              </a:path>
              <a:path w="8402320" h="113664">
                <a:moveTo>
                  <a:pt x="833666" y="0"/>
                </a:moveTo>
                <a:lnTo>
                  <a:pt x="812076" y="4398"/>
                </a:lnTo>
                <a:lnTo>
                  <a:pt x="794048" y="16408"/>
                </a:lnTo>
                <a:lnTo>
                  <a:pt x="781688" y="34247"/>
                </a:lnTo>
                <a:lnTo>
                  <a:pt x="777100" y="56133"/>
                </a:lnTo>
                <a:lnTo>
                  <a:pt x="777100" y="56997"/>
                </a:lnTo>
                <a:lnTo>
                  <a:pt x="781566" y="78884"/>
                </a:lnTo>
                <a:lnTo>
                  <a:pt x="793724" y="96723"/>
                </a:lnTo>
                <a:lnTo>
                  <a:pt x="811711" y="108732"/>
                </a:lnTo>
                <a:lnTo>
                  <a:pt x="833666" y="113131"/>
                </a:lnTo>
                <a:lnTo>
                  <a:pt x="855620" y="108732"/>
                </a:lnTo>
                <a:lnTo>
                  <a:pt x="873607" y="96723"/>
                </a:lnTo>
                <a:lnTo>
                  <a:pt x="885765" y="78884"/>
                </a:lnTo>
                <a:lnTo>
                  <a:pt x="890231" y="56997"/>
                </a:lnTo>
                <a:lnTo>
                  <a:pt x="890231" y="56133"/>
                </a:lnTo>
                <a:lnTo>
                  <a:pt x="885583" y="34247"/>
                </a:lnTo>
                <a:lnTo>
                  <a:pt x="873121" y="16408"/>
                </a:lnTo>
                <a:lnTo>
                  <a:pt x="855073" y="4398"/>
                </a:lnTo>
                <a:lnTo>
                  <a:pt x="833666" y="0"/>
                </a:lnTo>
                <a:close/>
              </a:path>
              <a:path w="8402320" h="113664">
                <a:moveTo>
                  <a:pt x="1092708" y="0"/>
                </a:moveTo>
                <a:lnTo>
                  <a:pt x="1071118" y="4398"/>
                </a:lnTo>
                <a:lnTo>
                  <a:pt x="1053090" y="16408"/>
                </a:lnTo>
                <a:lnTo>
                  <a:pt x="1040730" y="34247"/>
                </a:lnTo>
                <a:lnTo>
                  <a:pt x="1036142" y="56133"/>
                </a:lnTo>
                <a:lnTo>
                  <a:pt x="1036142" y="56997"/>
                </a:lnTo>
                <a:lnTo>
                  <a:pt x="1040608" y="78884"/>
                </a:lnTo>
                <a:lnTo>
                  <a:pt x="1052766" y="96723"/>
                </a:lnTo>
                <a:lnTo>
                  <a:pt x="1070753" y="108732"/>
                </a:lnTo>
                <a:lnTo>
                  <a:pt x="1092708" y="113131"/>
                </a:lnTo>
                <a:lnTo>
                  <a:pt x="1114662" y="108732"/>
                </a:lnTo>
                <a:lnTo>
                  <a:pt x="1132649" y="96723"/>
                </a:lnTo>
                <a:lnTo>
                  <a:pt x="1144807" y="78884"/>
                </a:lnTo>
                <a:lnTo>
                  <a:pt x="1149273" y="56997"/>
                </a:lnTo>
                <a:lnTo>
                  <a:pt x="1149273" y="56133"/>
                </a:lnTo>
                <a:lnTo>
                  <a:pt x="1144625" y="34247"/>
                </a:lnTo>
                <a:lnTo>
                  <a:pt x="1132163" y="16408"/>
                </a:lnTo>
                <a:lnTo>
                  <a:pt x="1114115" y="4398"/>
                </a:lnTo>
                <a:lnTo>
                  <a:pt x="1092708" y="0"/>
                </a:lnTo>
                <a:close/>
              </a:path>
              <a:path w="8402320" h="113664">
                <a:moveTo>
                  <a:pt x="1351737" y="0"/>
                </a:moveTo>
                <a:lnTo>
                  <a:pt x="1330147" y="4398"/>
                </a:lnTo>
                <a:lnTo>
                  <a:pt x="1312119" y="16408"/>
                </a:lnTo>
                <a:lnTo>
                  <a:pt x="1299759" y="34247"/>
                </a:lnTo>
                <a:lnTo>
                  <a:pt x="1295171" y="56133"/>
                </a:lnTo>
                <a:lnTo>
                  <a:pt x="1295171" y="56997"/>
                </a:lnTo>
                <a:lnTo>
                  <a:pt x="1299637" y="78884"/>
                </a:lnTo>
                <a:lnTo>
                  <a:pt x="1311795" y="96723"/>
                </a:lnTo>
                <a:lnTo>
                  <a:pt x="1329782" y="108732"/>
                </a:lnTo>
                <a:lnTo>
                  <a:pt x="1351737" y="113131"/>
                </a:lnTo>
                <a:lnTo>
                  <a:pt x="1373691" y="108732"/>
                </a:lnTo>
                <a:lnTo>
                  <a:pt x="1391678" y="96723"/>
                </a:lnTo>
                <a:lnTo>
                  <a:pt x="1403836" y="78884"/>
                </a:lnTo>
                <a:lnTo>
                  <a:pt x="1408303" y="56997"/>
                </a:lnTo>
                <a:lnTo>
                  <a:pt x="1408303" y="56133"/>
                </a:lnTo>
                <a:lnTo>
                  <a:pt x="1403654" y="34247"/>
                </a:lnTo>
                <a:lnTo>
                  <a:pt x="1391192" y="16408"/>
                </a:lnTo>
                <a:lnTo>
                  <a:pt x="1373145" y="4398"/>
                </a:lnTo>
                <a:lnTo>
                  <a:pt x="1351737" y="0"/>
                </a:lnTo>
                <a:close/>
              </a:path>
              <a:path w="8402320" h="113664">
                <a:moveTo>
                  <a:pt x="1610779" y="0"/>
                </a:moveTo>
                <a:lnTo>
                  <a:pt x="1589189" y="4398"/>
                </a:lnTo>
                <a:lnTo>
                  <a:pt x="1571161" y="16408"/>
                </a:lnTo>
                <a:lnTo>
                  <a:pt x="1558801" y="34247"/>
                </a:lnTo>
                <a:lnTo>
                  <a:pt x="1554213" y="56133"/>
                </a:lnTo>
                <a:lnTo>
                  <a:pt x="1554213" y="56997"/>
                </a:lnTo>
                <a:lnTo>
                  <a:pt x="1558679" y="78884"/>
                </a:lnTo>
                <a:lnTo>
                  <a:pt x="1570837" y="96723"/>
                </a:lnTo>
                <a:lnTo>
                  <a:pt x="1588824" y="108732"/>
                </a:lnTo>
                <a:lnTo>
                  <a:pt x="1610779" y="113131"/>
                </a:lnTo>
                <a:lnTo>
                  <a:pt x="1632733" y="108732"/>
                </a:lnTo>
                <a:lnTo>
                  <a:pt x="1650720" y="96723"/>
                </a:lnTo>
                <a:lnTo>
                  <a:pt x="1662878" y="78884"/>
                </a:lnTo>
                <a:lnTo>
                  <a:pt x="1667344" y="56997"/>
                </a:lnTo>
                <a:lnTo>
                  <a:pt x="1667344" y="56133"/>
                </a:lnTo>
                <a:lnTo>
                  <a:pt x="1662696" y="34247"/>
                </a:lnTo>
                <a:lnTo>
                  <a:pt x="1650234" y="16408"/>
                </a:lnTo>
                <a:lnTo>
                  <a:pt x="1632186" y="4398"/>
                </a:lnTo>
                <a:lnTo>
                  <a:pt x="1610779" y="0"/>
                </a:lnTo>
                <a:close/>
              </a:path>
              <a:path w="8402320" h="113664">
                <a:moveTo>
                  <a:pt x="1869808" y="0"/>
                </a:moveTo>
                <a:lnTo>
                  <a:pt x="1848218" y="4398"/>
                </a:lnTo>
                <a:lnTo>
                  <a:pt x="1830190" y="16408"/>
                </a:lnTo>
                <a:lnTo>
                  <a:pt x="1817830" y="34247"/>
                </a:lnTo>
                <a:lnTo>
                  <a:pt x="1813242" y="56133"/>
                </a:lnTo>
                <a:lnTo>
                  <a:pt x="1813242" y="56997"/>
                </a:lnTo>
                <a:lnTo>
                  <a:pt x="1817708" y="78884"/>
                </a:lnTo>
                <a:lnTo>
                  <a:pt x="1829866" y="96723"/>
                </a:lnTo>
                <a:lnTo>
                  <a:pt x="1847853" y="108732"/>
                </a:lnTo>
                <a:lnTo>
                  <a:pt x="1869808" y="113131"/>
                </a:lnTo>
                <a:lnTo>
                  <a:pt x="1891762" y="108732"/>
                </a:lnTo>
                <a:lnTo>
                  <a:pt x="1909749" y="96723"/>
                </a:lnTo>
                <a:lnTo>
                  <a:pt x="1921907" y="78884"/>
                </a:lnTo>
                <a:lnTo>
                  <a:pt x="1926374" y="56997"/>
                </a:lnTo>
                <a:lnTo>
                  <a:pt x="1926374" y="56133"/>
                </a:lnTo>
                <a:lnTo>
                  <a:pt x="1921725" y="34247"/>
                </a:lnTo>
                <a:lnTo>
                  <a:pt x="1909264" y="16408"/>
                </a:lnTo>
                <a:lnTo>
                  <a:pt x="1891216" y="4398"/>
                </a:lnTo>
                <a:lnTo>
                  <a:pt x="1869808" y="0"/>
                </a:lnTo>
                <a:close/>
              </a:path>
              <a:path w="8402320" h="113664">
                <a:moveTo>
                  <a:pt x="2128850" y="0"/>
                </a:moveTo>
                <a:lnTo>
                  <a:pt x="2107260" y="4398"/>
                </a:lnTo>
                <a:lnTo>
                  <a:pt x="2089232" y="16408"/>
                </a:lnTo>
                <a:lnTo>
                  <a:pt x="2076872" y="34247"/>
                </a:lnTo>
                <a:lnTo>
                  <a:pt x="2072284" y="56133"/>
                </a:lnTo>
                <a:lnTo>
                  <a:pt x="2072284" y="56997"/>
                </a:lnTo>
                <a:lnTo>
                  <a:pt x="2076750" y="78884"/>
                </a:lnTo>
                <a:lnTo>
                  <a:pt x="2088908" y="96723"/>
                </a:lnTo>
                <a:lnTo>
                  <a:pt x="2106895" y="108732"/>
                </a:lnTo>
                <a:lnTo>
                  <a:pt x="2128850" y="113131"/>
                </a:lnTo>
                <a:lnTo>
                  <a:pt x="2150804" y="108732"/>
                </a:lnTo>
                <a:lnTo>
                  <a:pt x="2168791" y="96723"/>
                </a:lnTo>
                <a:lnTo>
                  <a:pt x="2180949" y="78884"/>
                </a:lnTo>
                <a:lnTo>
                  <a:pt x="2185416" y="56997"/>
                </a:lnTo>
                <a:lnTo>
                  <a:pt x="2185416" y="56133"/>
                </a:lnTo>
                <a:lnTo>
                  <a:pt x="2180767" y="34247"/>
                </a:lnTo>
                <a:lnTo>
                  <a:pt x="2168305" y="16408"/>
                </a:lnTo>
                <a:lnTo>
                  <a:pt x="2150258" y="4398"/>
                </a:lnTo>
                <a:lnTo>
                  <a:pt x="2128850" y="0"/>
                </a:lnTo>
                <a:close/>
              </a:path>
              <a:path w="8402320" h="113664">
                <a:moveTo>
                  <a:pt x="2387879" y="0"/>
                </a:moveTo>
                <a:lnTo>
                  <a:pt x="2366289" y="4398"/>
                </a:lnTo>
                <a:lnTo>
                  <a:pt x="2348261" y="16408"/>
                </a:lnTo>
                <a:lnTo>
                  <a:pt x="2335901" y="34247"/>
                </a:lnTo>
                <a:lnTo>
                  <a:pt x="2331313" y="56133"/>
                </a:lnTo>
                <a:lnTo>
                  <a:pt x="2331313" y="56997"/>
                </a:lnTo>
                <a:lnTo>
                  <a:pt x="2335780" y="78884"/>
                </a:lnTo>
                <a:lnTo>
                  <a:pt x="2347937" y="96723"/>
                </a:lnTo>
                <a:lnTo>
                  <a:pt x="2365925" y="108732"/>
                </a:lnTo>
                <a:lnTo>
                  <a:pt x="2387879" y="113131"/>
                </a:lnTo>
                <a:lnTo>
                  <a:pt x="2409833" y="108732"/>
                </a:lnTo>
                <a:lnTo>
                  <a:pt x="2427820" y="96723"/>
                </a:lnTo>
                <a:lnTo>
                  <a:pt x="2439978" y="78884"/>
                </a:lnTo>
                <a:lnTo>
                  <a:pt x="2444445" y="56997"/>
                </a:lnTo>
                <a:lnTo>
                  <a:pt x="2444445" y="56133"/>
                </a:lnTo>
                <a:lnTo>
                  <a:pt x="2439796" y="34247"/>
                </a:lnTo>
                <a:lnTo>
                  <a:pt x="2427335" y="16408"/>
                </a:lnTo>
                <a:lnTo>
                  <a:pt x="2409287" y="4398"/>
                </a:lnTo>
                <a:lnTo>
                  <a:pt x="2387879" y="0"/>
                </a:lnTo>
                <a:close/>
              </a:path>
              <a:path w="8402320" h="113664">
                <a:moveTo>
                  <a:pt x="2646921" y="0"/>
                </a:moveTo>
                <a:lnTo>
                  <a:pt x="2625331" y="4398"/>
                </a:lnTo>
                <a:lnTo>
                  <a:pt x="2607303" y="16408"/>
                </a:lnTo>
                <a:lnTo>
                  <a:pt x="2594943" y="34247"/>
                </a:lnTo>
                <a:lnTo>
                  <a:pt x="2590355" y="56133"/>
                </a:lnTo>
                <a:lnTo>
                  <a:pt x="2590355" y="56997"/>
                </a:lnTo>
                <a:lnTo>
                  <a:pt x="2594821" y="78884"/>
                </a:lnTo>
                <a:lnTo>
                  <a:pt x="2606979" y="96723"/>
                </a:lnTo>
                <a:lnTo>
                  <a:pt x="2624966" y="108732"/>
                </a:lnTo>
                <a:lnTo>
                  <a:pt x="2646921" y="113131"/>
                </a:lnTo>
                <a:lnTo>
                  <a:pt x="2668875" y="108732"/>
                </a:lnTo>
                <a:lnTo>
                  <a:pt x="2686862" y="96723"/>
                </a:lnTo>
                <a:lnTo>
                  <a:pt x="2699020" y="78884"/>
                </a:lnTo>
                <a:lnTo>
                  <a:pt x="2703487" y="56997"/>
                </a:lnTo>
                <a:lnTo>
                  <a:pt x="2703487" y="56133"/>
                </a:lnTo>
                <a:lnTo>
                  <a:pt x="2698838" y="34247"/>
                </a:lnTo>
                <a:lnTo>
                  <a:pt x="2686377" y="16408"/>
                </a:lnTo>
                <a:lnTo>
                  <a:pt x="2668329" y="4398"/>
                </a:lnTo>
                <a:lnTo>
                  <a:pt x="2646921" y="0"/>
                </a:lnTo>
                <a:close/>
              </a:path>
              <a:path w="8402320" h="113664">
                <a:moveTo>
                  <a:pt x="2905950" y="0"/>
                </a:moveTo>
                <a:lnTo>
                  <a:pt x="2884360" y="4398"/>
                </a:lnTo>
                <a:lnTo>
                  <a:pt x="2866332" y="16408"/>
                </a:lnTo>
                <a:lnTo>
                  <a:pt x="2853972" y="34247"/>
                </a:lnTo>
                <a:lnTo>
                  <a:pt x="2849384" y="56133"/>
                </a:lnTo>
                <a:lnTo>
                  <a:pt x="2849384" y="56997"/>
                </a:lnTo>
                <a:lnTo>
                  <a:pt x="2853851" y="78884"/>
                </a:lnTo>
                <a:lnTo>
                  <a:pt x="2866009" y="96723"/>
                </a:lnTo>
                <a:lnTo>
                  <a:pt x="2883996" y="108732"/>
                </a:lnTo>
                <a:lnTo>
                  <a:pt x="2905950" y="113131"/>
                </a:lnTo>
                <a:lnTo>
                  <a:pt x="2927904" y="108732"/>
                </a:lnTo>
                <a:lnTo>
                  <a:pt x="2945892" y="96723"/>
                </a:lnTo>
                <a:lnTo>
                  <a:pt x="2958049" y="78884"/>
                </a:lnTo>
                <a:lnTo>
                  <a:pt x="2962516" y="56997"/>
                </a:lnTo>
                <a:lnTo>
                  <a:pt x="2962516" y="56133"/>
                </a:lnTo>
                <a:lnTo>
                  <a:pt x="2957867" y="34247"/>
                </a:lnTo>
                <a:lnTo>
                  <a:pt x="2945406" y="16408"/>
                </a:lnTo>
                <a:lnTo>
                  <a:pt x="2927358" y="4398"/>
                </a:lnTo>
                <a:lnTo>
                  <a:pt x="2905950" y="0"/>
                </a:lnTo>
                <a:close/>
              </a:path>
              <a:path w="8402320" h="113664">
                <a:moveTo>
                  <a:pt x="3164992" y="0"/>
                </a:moveTo>
                <a:lnTo>
                  <a:pt x="3143402" y="4398"/>
                </a:lnTo>
                <a:lnTo>
                  <a:pt x="3125374" y="16408"/>
                </a:lnTo>
                <a:lnTo>
                  <a:pt x="3113014" y="34247"/>
                </a:lnTo>
                <a:lnTo>
                  <a:pt x="3108426" y="56133"/>
                </a:lnTo>
                <a:lnTo>
                  <a:pt x="3108426" y="56997"/>
                </a:lnTo>
                <a:lnTo>
                  <a:pt x="3112893" y="78884"/>
                </a:lnTo>
                <a:lnTo>
                  <a:pt x="3125050" y="96723"/>
                </a:lnTo>
                <a:lnTo>
                  <a:pt x="3143038" y="108732"/>
                </a:lnTo>
                <a:lnTo>
                  <a:pt x="3164992" y="113131"/>
                </a:lnTo>
                <a:lnTo>
                  <a:pt x="3186946" y="108732"/>
                </a:lnTo>
                <a:lnTo>
                  <a:pt x="3204933" y="96723"/>
                </a:lnTo>
                <a:lnTo>
                  <a:pt x="3217091" y="78884"/>
                </a:lnTo>
                <a:lnTo>
                  <a:pt x="3221558" y="56997"/>
                </a:lnTo>
                <a:lnTo>
                  <a:pt x="3221558" y="56133"/>
                </a:lnTo>
                <a:lnTo>
                  <a:pt x="3216909" y="34247"/>
                </a:lnTo>
                <a:lnTo>
                  <a:pt x="3204448" y="16408"/>
                </a:lnTo>
                <a:lnTo>
                  <a:pt x="3186400" y="4398"/>
                </a:lnTo>
                <a:lnTo>
                  <a:pt x="3164992" y="0"/>
                </a:lnTo>
                <a:close/>
              </a:path>
              <a:path w="8402320" h="113664">
                <a:moveTo>
                  <a:pt x="3424021" y="0"/>
                </a:moveTo>
                <a:lnTo>
                  <a:pt x="3402431" y="4398"/>
                </a:lnTo>
                <a:lnTo>
                  <a:pt x="3384403" y="16408"/>
                </a:lnTo>
                <a:lnTo>
                  <a:pt x="3372043" y="34247"/>
                </a:lnTo>
                <a:lnTo>
                  <a:pt x="3367455" y="56133"/>
                </a:lnTo>
                <a:lnTo>
                  <a:pt x="3367455" y="56997"/>
                </a:lnTo>
                <a:lnTo>
                  <a:pt x="3371922" y="78884"/>
                </a:lnTo>
                <a:lnTo>
                  <a:pt x="3384080" y="96723"/>
                </a:lnTo>
                <a:lnTo>
                  <a:pt x="3402067" y="108732"/>
                </a:lnTo>
                <a:lnTo>
                  <a:pt x="3424021" y="113131"/>
                </a:lnTo>
                <a:lnTo>
                  <a:pt x="3445975" y="108732"/>
                </a:lnTo>
                <a:lnTo>
                  <a:pt x="3463963" y="96723"/>
                </a:lnTo>
                <a:lnTo>
                  <a:pt x="3476120" y="78884"/>
                </a:lnTo>
                <a:lnTo>
                  <a:pt x="3480587" y="56997"/>
                </a:lnTo>
                <a:lnTo>
                  <a:pt x="3480587" y="56133"/>
                </a:lnTo>
                <a:lnTo>
                  <a:pt x="3475938" y="34247"/>
                </a:lnTo>
                <a:lnTo>
                  <a:pt x="3463477" y="16408"/>
                </a:lnTo>
                <a:lnTo>
                  <a:pt x="3445429" y="4398"/>
                </a:lnTo>
                <a:lnTo>
                  <a:pt x="3424021" y="0"/>
                </a:lnTo>
                <a:close/>
              </a:path>
              <a:path w="8402320" h="113664">
                <a:moveTo>
                  <a:pt x="3683063" y="0"/>
                </a:moveTo>
                <a:lnTo>
                  <a:pt x="3661473" y="4398"/>
                </a:lnTo>
                <a:lnTo>
                  <a:pt x="3643445" y="16408"/>
                </a:lnTo>
                <a:lnTo>
                  <a:pt x="3631085" y="34247"/>
                </a:lnTo>
                <a:lnTo>
                  <a:pt x="3626497" y="56133"/>
                </a:lnTo>
                <a:lnTo>
                  <a:pt x="3626497" y="56997"/>
                </a:lnTo>
                <a:lnTo>
                  <a:pt x="3630964" y="78884"/>
                </a:lnTo>
                <a:lnTo>
                  <a:pt x="3643122" y="96723"/>
                </a:lnTo>
                <a:lnTo>
                  <a:pt x="3661109" y="108732"/>
                </a:lnTo>
                <a:lnTo>
                  <a:pt x="3683063" y="113131"/>
                </a:lnTo>
                <a:lnTo>
                  <a:pt x="3705017" y="108732"/>
                </a:lnTo>
                <a:lnTo>
                  <a:pt x="3723005" y="96723"/>
                </a:lnTo>
                <a:lnTo>
                  <a:pt x="3735162" y="78884"/>
                </a:lnTo>
                <a:lnTo>
                  <a:pt x="3739629" y="56997"/>
                </a:lnTo>
                <a:lnTo>
                  <a:pt x="3739629" y="56133"/>
                </a:lnTo>
                <a:lnTo>
                  <a:pt x="3734980" y="34247"/>
                </a:lnTo>
                <a:lnTo>
                  <a:pt x="3722519" y="16408"/>
                </a:lnTo>
                <a:lnTo>
                  <a:pt x="3704471" y="4398"/>
                </a:lnTo>
                <a:lnTo>
                  <a:pt x="3683063" y="0"/>
                </a:lnTo>
                <a:close/>
              </a:path>
              <a:path w="8402320" h="113664">
                <a:moveTo>
                  <a:pt x="3942092" y="0"/>
                </a:moveTo>
                <a:lnTo>
                  <a:pt x="3920502" y="4398"/>
                </a:lnTo>
                <a:lnTo>
                  <a:pt x="3902475" y="16408"/>
                </a:lnTo>
                <a:lnTo>
                  <a:pt x="3890114" y="34247"/>
                </a:lnTo>
                <a:lnTo>
                  <a:pt x="3885526" y="56133"/>
                </a:lnTo>
                <a:lnTo>
                  <a:pt x="3885526" y="56997"/>
                </a:lnTo>
                <a:lnTo>
                  <a:pt x="3889993" y="78884"/>
                </a:lnTo>
                <a:lnTo>
                  <a:pt x="3902151" y="96723"/>
                </a:lnTo>
                <a:lnTo>
                  <a:pt x="3920138" y="108732"/>
                </a:lnTo>
                <a:lnTo>
                  <a:pt x="3942092" y="113131"/>
                </a:lnTo>
                <a:lnTo>
                  <a:pt x="3964047" y="108732"/>
                </a:lnTo>
                <a:lnTo>
                  <a:pt x="3982034" y="96723"/>
                </a:lnTo>
                <a:lnTo>
                  <a:pt x="3994192" y="78884"/>
                </a:lnTo>
                <a:lnTo>
                  <a:pt x="3998658" y="56997"/>
                </a:lnTo>
                <a:lnTo>
                  <a:pt x="3998658" y="56133"/>
                </a:lnTo>
                <a:lnTo>
                  <a:pt x="3994009" y="34247"/>
                </a:lnTo>
                <a:lnTo>
                  <a:pt x="3981548" y="16408"/>
                </a:lnTo>
                <a:lnTo>
                  <a:pt x="3963500" y="4398"/>
                </a:lnTo>
                <a:lnTo>
                  <a:pt x="3942092" y="0"/>
                </a:lnTo>
                <a:close/>
              </a:path>
              <a:path w="8402320" h="113664">
                <a:moveTo>
                  <a:pt x="4201134" y="0"/>
                </a:moveTo>
                <a:lnTo>
                  <a:pt x="4179544" y="4398"/>
                </a:lnTo>
                <a:lnTo>
                  <a:pt x="4161516" y="16408"/>
                </a:lnTo>
                <a:lnTo>
                  <a:pt x="4149156" y="34247"/>
                </a:lnTo>
                <a:lnTo>
                  <a:pt x="4144568" y="56133"/>
                </a:lnTo>
                <a:lnTo>
                  <a:pt x="4144568" y="56997"/>
                </a:lnTo>
                <a:lnTo>
                  <a:pt x="4149035" y="78884"/>
                </a:lnTo>
                <a:lnTo>
                  <a:pt x="4161193" y="96723"/>
                </a:lnTo>
                <a:lnTo>
                  <a:pt x="4179180" y="108732"/>
                </a:lnTo>
                <a:lnTo>
                  <a:pt x="4201134" y="113131"/>
                </a:lnTo>
                <a:lnTo>
                  <a:pt x="4223088" y="108732"/>
                </a:lnTo>
                <a:lnTo>
                  <a:pt x="4241076" y="96723"/>
                </a:lnTo>
                <a:lnTo>
                  <a:pt x="4253233" y="78884"/>
                </a:lnTo>
                <a:lnTo>
                  <a:pt x="4257700" y="56997"/>
                </a:lnTo>
                <a:lnTo>
                  <a:pt x="4257700" y="56133"/>
                </a:lnTo>
                <a:lnTo>
                  <a:pt x="4253051" y="34247"/>
                </a:lnTo>
                <a:lnTo>
                  <a:pt x="4240590" y="16408"/>
                </a:lnTo>
                <a:lnTo>
                  <a:pt x="4222542" y="4398"/>
                </a:lnTo>
                <a:lnTo>
                  <a:pt x="4201134" y="0"/>
                </a:lnTo>
                <a:close/>
              </a:path>
              <a:path w="8402320" h="113664">
                <a:moveTo>
                  <a:pt x="4460163" y="0"/>
                </a:moveTo>
                <a:lnTo>
                  <a:pt x="4438573" y="4398"/>
                </a:lnTo>
                <a:lnTo>
                  <a:pt x="4420546" y="16408"/>
                </a:lnTo>
                <a:lnTo>
                  <a:pt x="4408185" y="34247"/>
                </a:lnTo>
                <a:lnTo>
                  <a:pt x="4403598" y="56133"/>
                </a:lnTo>
                <a:lnTo>
                  <a:pt x="4403598" y="56997"/>
                </a:lnTo>
                <a:lnTo>
                  <a:pt x="4408064" y="78884"/>
                </a:lnTo>
                <a:lnTo>
                  <a:pt x="4420222" y="96723"/>
                </a:lnTo>
                <a:lnTo>
                  <a:pt x="4438209" y="108732"/>
                </a:lnTo>
                <a:lnTo>
                  <a:pt x="4460163" y="113131"/>
                </a:lnTo>
                <a:lnTo>
                  <a:pt x="4482118" y="108732"/>
                </a:lnTo>
                <a:lnTo>
                  <a:pt x="4500105" y="96723"/>
                </a:lnTo>
                <a:lnTo>
                  <a:pt x="4512263" y="78884"/>
                </a:lnTo>
                <a:lnTo>
                  <a:pt x="4516729" y="56997"/>
                </a:lnTo>
                <a:lnTo>
                  <a:pt x="4516729" y="56133"/>
                </a:lnTo>
                <a:lnTo>
                  <a:pt x="4512081" y="34247"/>
                </a:lnTo>
                <a:lnTo>
                  <a:pt x="4499619" y="16408"/>
                </a:lnTo>
                <a:lnTo>
                  <a:pt x="4481571" y="4398"/>
                </a:lnTo>
                <a:lnTo>
                  <a:pt x="4460163" y="0"/>
                </a:lnTo>
                <a:close/>
              </a:path>
              <a:path w="8402320" h="113664">
                <a:moveTo>
                  <a:pt x="4719205" y="0"/>
                </a:moveTo>
                <a:lnTo>
                  <a:pt x="4697615" y="4398"/>
                </a:lnTo>
                <a:lnTo>
                  <a:pt x="4679588" y="16408"/>
                </a:lnTo>
                <a:lnTo>
                  <a:pt x="4667227" y="34247"/>
                </a:lnTo>
                <a:lnTo>
                  <a:pt x="4662639" y="56133"/>
                </a:lnTo>
                <a:lnTo>
                  <a:pt x="4662639" y="56997"/>
                </a:lnTo>
                <a:lnTo>
                  <a:pt x="4667106" y="78884"/>
                </a:lnTo>
                <a:lnTo>
                  <a:pt x="4679264" y="96723"/>
                </a:lnTo>
                <a:lnTo>
                  <a:pt x="4697251" y="108732"/>
                </a:lnTo>
                <a:lnTo>
                  <a:pt x="4719205" y="113131"/>
                </a:lnTo>
                <a:lnTo>
                  <a:pt x="4741160" y="108732"/>
                </a:lnTo>
                <a:lnTo>
                  <a:pt x="4759147" y="96723"/>
                </a:lnTo>
                <a:lnTo>
                  <a:pt x="4771305" y="78884"/>
                </a:lnTo>
                <a:lnTo>
                  <a:pt x="4775771" y="56997"/>
                </a:lnTo>
                <a:lnTo>
                  <a:pt x="4775771" y="56133"/>
                </a:lnTo>
                <a:lnTo>
                  <a:pt x="4771122" y="34247"/>
                </a:lnTo>
                <a:lnTo>
                  <a:pt x="4758661" y="16408"/>
                </a:lnTo>
                <a:lnTo>
                  <a:pt x="4740613" y="4398"/>
                </a:lnTo>
                <a:lnTo>
                  <a:pt x="4719205" y="0"/>
                </a:lnTo>
                <a:close/>
              </a:path>
              <a:path w="8402320" h="113664">
                <a:moveTo>
                  <a:pt x="4978234" y="0"/>
                </a:moveTo>
                <a:lnTo>
                  <a:pt x="4956644" y="4398"/>
                </a:lnTo>
                <a:lnTo>
                  <a:pt x="4938617" y="16408"/>
                </a:lnTo>
                <a:lnTo>
                  <a:pt x="4926256" y="34247"/>
                </a:lnTo>
                <a:lnTo>
                  <a:pt x="4921669" y="56133"/>
                </a:lnTo>
                <a:lnTo>
                  <a:pt x="4921669" y="56997"/>
                </a:lnTo>
                <a:lnTo>
                  <a:pt x="4926135" y="78884"/>
                </a:lnTo>
                <a:lnTo>
                  <a:pt x="4938293" y="96723"/>
                </a:lnTo>
                <a:lnTo>
                  <a:pt x="4956280" y="108732"/>
                </a:lnTo>
                <a:lnTo>
                  <a:pt x="4978234" y="113131"/>
                </a:lnTo>
                <a:lnTo>
                  <a:pt x="5000189" y="108732"/>
                </a:lnTo>
                <a:lnTo>
                  <a:pt x="5018176" y="96723"/>
                </a:lnTo>
                <a:lnTo>
                  <a:pt x="5030334" y="78884"/>
                </a:lnTo>
                <a:lnTo>
                  <a:pt x="5034800" y="56997"/>
                </a:lnTo>
                <a:lnTo>
                  <a:pt x="5034800" y="56133"/>
                </a:lnTo>
                <a:lnTo>
                  <a:pt x="5030152" y="34247"/>
                </a:lnTo>
                <a:lnTo>
                  <a:pt x="5017690" y="16408"/>
                </a:lnTo>
                <a:lnTo>
                  <a:pt x="4999642" y="4398"/>
                </a:lnTo>
                <a:lnTo>
                  <a:pt x="4978234" y="0"/>
                </a:lnTo>
                <a:close/>
              </a:path>
              <a:path w="8402320" h="113664">
                <a:moveTo>
                  <a:pt x="5237276" y="0"/>
                </a:moveTo>
                <a:lnTo>
                  <a:pt x="5215686" y="4398"/>
                </a:lnTo>
                <a:lnTo>
                  <a:pt x="5197659" y="16408"/>
                </a:lnTo>
                <a:lnTo>
                  <a:pt x="5185298" y="34247"/>
                </a:lnTo>
                <a:lnTo>
                  <a:pt x="5180711" y="56133"/>
                </a:lnTo>
                <a:lnTo>
                  <a:pt x="5180711" y="56997"/>
                </a:lnTo>
                <a:lnTo>
                  <a:pt x="5185177" y="78884"/>
                </a:lnTo>
                <a:lnTo>
                  <a:pt x="5197335" y="96723"/>
                </a:lnTo>
                <a:lnTo>
                  <a:pt x="5215322" y="108732"/>
                </a:lnTo>
                <a:lnTo>
                  <a:pt x="5237276" y="113131"/>
                </a:lnTo>
                <a:lnTo>
                  <a:pt x="5259231" y="108732"/>
                </a:lnTo>
                <a:lnTo>
                  <a:pt x="5277218" y="96723"/>
                </a:lnTo>
                <a:lnTo>
                  <a:pt x="5289376" y="78884"/>
                </a:lnTo>
                <a:lnTo>
                  <a:pt x="5293842" y="56997"/>
                </a:lnTo>
                <a:lnTo>
                  <a:pt x="5293842" y="56133"/>
                </a:lnTo>
                <a:lnTo>
                  <a:pt x="5289194" y="34247"/>
                </a:lnTo>
                <a:lnTo>
                  <a:pt x="5276732" y="16408"/>
                </a:lnTo>
                <a:lnTo>
                  <a:pt x="5258684" y="4398"/>
                </a:lnTo>
                <a:lnTo>
                  <a:pt x="5237276" y="0"/>
                </a:lnTo>
                <a:close/>
              </a:path>
              <a:path w="8402320" h="113664">
                <a:moveTo>
                  <a:pt x="5496306" y="0"/>
                </a:moveTo>
                <a:lnTo>
                  <a:pt x="5474716" y="4398"/>
                </a:lnTo>
                <a:lnTo>
                  <a:pt x="5456688" y="16408"/>
                </a:lnTo>
                <a:lnTo>
                  <a:pt x="5444328" y="34247"/>
                </a:lnTo>
                <a:lnTo>
                  <a:pt x="5439740" y="56133"/>
                </a:lnTo>
                <a:lnTo>
                  <a:pt x="5439740" y="56997"/>
                </a:lnTo>
                <a:lnTo>
                  <a:pt x="5444206" y="78884"/>
                </a:lnTo>
                <a:lnTo>
                  <a:pt x="5456364" y="96723"/>
                </a:lnTo>
                <a:lnTo>
                  <a:pt x="5474351" y="108732"/>
                </a:lnTo>
                <a:lnTo>
                  <a:pt x="5496306" y="113131"/>
                </a:lnTo>
                <a:lnTo>
                  <a:pt x="5518260" y="108732"/>
                </a:lnTo>
                <a:lnTo>
                  <a:pt x="5536247" y="96723"/>
                </a:lnTo>
                <a:lnTo>
                  <a:pt x="5548405" y="78884"/>
                </a:lnTo>
                <a:lnTo>
                  <a:pt x="5552871" y="56997"/>
                </a:lnTo>
                <a:lnTo>
                  <a:pt x="5552871" y="56133"/>
                </a:lnTo>
                <a:lnTo>
                  <a:pt x="5548223" y="34247"/>
                </a:lnTo>
                <a:lnTo>
                  <a:pt x="5535761" y="16408"/>
                </a:lnTo>
                <a:lnTo>
                  <a:pt x="5517713" y="4398"/>
                </a:lnTo>
                <a:lnTo>
                  <a:pt x="5496306" y="0"/>
                </a:lnTo>
                <a:close/>
              </a:path>
              <a:path w="8402320" h="113664">
                <a:moveTo>
                  <a:pt x="5755347" y="0"/>
                </a:moveTo>
                <a:lnTo>
                  <a:pt x="5733757" y="4398"/>
                </a:lnTo>
                <a:lnTo>
                  <a:pt x="5715730" y="16408"/>
                </a:lnTo>
                <a:lnTo>
                  <a:pt x="5703369" y="34247"/>
                </a:lnTo>
                <a:lnTo>
                  <a:pt x="5698782" y="56133"/>
                </a:lnTo>
                <a:lnTo>
                  <a:pt x="5698782" y="56997"/>
                </a:lnTo>
                <a:lnTo>
                  <a:pt x="5703248" y="78884"/>
                </a:lnTo>
                <a:lnTo>
                  <a:pt x="5715406" y="96723"/>
                </a:lnTo>
                <a:lnTo>
                  <a:pt x="5733393" y="108732"/>
                </a:lnTo>
                <a:lnTo>
                  <a:pt x="5755347" y="113131"/>
                </a:lnTo>
                <a:lnTo>
                  <a:pt x="5777302" y="108732"/>
                </a:lnTo>
                <a:lnTo>
                  <a:pt x="5795289" y="96723"/>
                </a:lnTo>
                <a:lnTo>
                  <a:pt x="5807447" y="78884"/>
                </a:lnTo>
                <a:lnTo>
                  <a:pt x="5811913" y="56997"/>
                </a:lnTo>
                <a:lnTo>
                  <a:pt x="5811913" y="56133"/>
                </a:lnTo>
                <a:lnTo>
                  <a:pt x="5807265" y="34247"/>
                </a:lnTo>
                <a:lnTo>
                  <a:pt x="5794803" y="16408"/>
                </a:lnTo>
                <a:lnTo>
                  <a:pt x="5776755" y="4398"/>
                </a:lnTo>
                <a:lnTo>
                  <a:pt x="5755347" y="0"/>
                </a:lnTo>
                <a:close/>
              </a:path>
              <a:path w="8402320" h="113664">
                <a:moveTo>
                  <a:pt x="6014377" y="0"/>
                </a:moveTo>
                <a:lnTo>
                  <a:pt x="5992787" y="4398"/>
                </a:lnTo>
                <a:lnTo>
                  <a:pt x="5974759" y="16408"/>
                </a:lnTo>
                <a:lnTo>
                  <a:pt x="5962399" y="34247"/>
                </a:lnTo>
                <a:lnTo>
                  <a:pt x="5957811" y="56133"/>
                </a:lnTo>
                <a:lnTo>
                  <a:pt x="5957811" y="56997"/>
                </a:lnTo>
                <a:lnTo>
                  <a:pt x="5962277" y="78884"/>
                </a:lnTo>
                <a:lnTo>
                  <a:pt x="5974435" y="96723"/>
                </a:lnTo>
                <a:lnTo>
                  <a:pt x="5992422" y="108732"/>
                </a:lnTo>
                <a:lnTo>
                  <a:pt x="6014377" y="113131"/>
                </a:lnTo>
                <a:lnTo>
                  <a:pt x="6036331" y="108732"/>
                </a:lnTo>
                <a:lnTo>
                  <a:pt x="6054318" y="96723"/>
                </a:lnTo>
                <a:lnTo>
                  <a:pt x="6066476" y="78884"/>
                </a:lnTo>
                <a:lnTo>
                  <a:pt x="6070942" y="56997"/>
                </a:lnTo>
                <a:lnTo>
                  <a:pt x="6070942" y="56133"/>
                </a:lnTo>
                <a:lnTo>
                  <a:pt x="6066294" y="34247"/>
                </a:lnTo>
                <a:lnTo>
                  <a:pt x="6053832" y="16408"/>
                </a:lnTo>
                <a:lnTo>
                  <a:pt x="6035784" y="4398"/>
                </a:lnTo>
                <a:lnTo>
                  <a:pt x="6014377" y="0"/>
                </a:lnTo>
                <a:close/>
              </a:path>
              <a:path w="8402320" h="113664">
                <a:moveTo>
                  <a:pt x="6273419" y="0"/>
                </a:moveTo>
                <a:lnTo>
                  <a:pt x="6251829" y="4398"/>
                </a:lnTo>
                <a:lnTo>
                  <a:pt x="6233801" y="16408"/>
                </a:lnTo>
                <a:lnTo>
                  <a:pt x="6221441" y="34247"/>
                </a:lnTo>
                <a:lnTo>
                  <a:pt x="6216853" y="56133"/>
                </a:lnTo>
                <a:lnTo>
                  <a:pt x="6216853" y="56997"/>
                </a:lnTo>
                <a:lnTo>
                  <a:pt x="6221319" y="78884"/>
                </a:lnTo>
                <a:lnTo>
                  <a:pt x="6233477" y="96723"/>
                </a:lnTo>
                <a:lnTo>
                  <a:pt x="6251464" y="108732"/>
                </a:lnTo>
                <a:lnTo>
                  <a:pt x="6273419" y="113131"/>
                </a:lnTo>
                <a:lnTo>
                  <a:pt x="6295373" y="108732"/>
                </a:lnTo>
                <a:lnTo>
                  <a:pt x="6313360" y="96723"/>
                </a:lnTo>
                <a:lnTo>
                  <a:pt x="6325518" y="78884"/>
                </a:lnTo>
                <a:lnTo>
                  <a:pt x="6329984" y="56997"/>
                </a:lnTo>
                <a:lnTo>
                  <a:pt x="6329984" y="56133"/>
                </a:lnTo>
                <a:lnTo>
                  <a:pt x="6325336" y="34247"/>
                </a:lnTo>
                <a:lnTo>
                  <a:pt x="6312874" y="16408"/>
                </a:lnTo>
                <a:lnTo>
                  <a:pt x="6294826" y="4398"/>
                </a:lnTo>
                <a:lnTo>
                  <a:pt x="6273419" y="0"/>
                </a:lnTo>
                <a:close/>
              </a:path>
              <a:path w="8402320" h="113664">
                <a:moveTo>
                  <a:pt x="6532448" y="0"/>
                </a:moveTo>
                <a:lnTo>
                  <a:pt x="6510858" y="4398"/>
                </a:lnTo>
                <a:lnTo>
                  <a:pt x="6492830" y="16408"/>
                </a:lnTo>
                <a:lnTo>
                  <a:pt x="6480470" y="34247"/>
                </a:lnTo>
                <a:lnTo>
                  <a:pt x="6475882" y="56133"/>
                </a:lnTo>
                <a:lnTo>
                  <a:pt x="6475882" y="56997"/>
                </a:lnTo>
                <a:lnTo>
                  <a:pt x="6480348" y="78884"/>
                </a:lnTo>
                <a:lnTo>
                  <a:pt x="6492506" y="96723"/>
                </a:lnTo>
                <a:lnTo>
                  <a:pt x="6510493" y="108732"/>
                </a:lnTo>
                <a:lnTo>
                  <a:pt x="6532448" y="113131"/>
                </a:lnTo>
                <a:lnTo>
                  <a:pt x="6554402" y="108732"/>
                </a:lnTo>
                <a:lnTo>
                  <a:pt x="6572389" y="96723"/>
                </a:lnTo>
                <a:lnTo>
                  <a:pt x="6584547" y="78884"/>
                </a:lnTo>
                <a:lnTo>
                  <a:pt x="6589013" y="56997"/>
                </a:lnTo>
                <a:lnTo>
                  <a:pt x="6589013" y="56133"/>
                </a:lnTo>
                <a:lnTo>
                  <a:pt x="6584365" y="34247"/>
                </a:lnTo>
                <a:lnTo>
                  <a:pt x="6571903" y="16408"/>
                </a:lnTo>
                <a:lnTo>
                  <a:pt x="6553856" y="4398"/>
                </a:lnTo>
                <a:lnTo>
                  <a:pt x="6532448" y="0"/>
                </a:lnTo>
                <a:close/>
              </a:path>
              <a:path w="8402320" h="113664">
                <a:moveTo>
                  <a:pt x="6791490" y="0"/>
                </a:moveTo>
                <a:lnTo>
                  <a:pt x="6769900" y="4398"/>
                </a:lnTo>
                <a:lnTo>
                  <a:pt x="6751872" y="16408"/>
                </a:lnTo>
                <a:lnTo>
                  <a:pt x="6739512" y="34247"/>
                </a:lnTo>
                <a:lnTo>
                  <a:pt x="6734924" y="56133"/>
                </a:lnTo>
                <a:lnTo>
                  <a:pt x="6734924" y="56997"/>
                </a:lnTo>
                <a:lnTo>
                  <a:pt x="6739390" y="78884"/>
                </a:lnTo>
                <a:lnTo>
                  <a:pt x="6751548" y="96723"/>
                </a:lnTo>
                <a:lnTo>
                  <a:pt x="6769535" y="108732"/>
                </a:lnTo>
                <a:lnTo>
                  <a:pt x="6791490" y="113131"/>
                </a:lnTo>
                <a:lnTo>
                  <a:pt x="6813444" y="108732"/>
                </a:lnTo>
                <a:lnTo>
                  <a:pt x="6831431" y="96723"/>
                </a:lnTo>
                <a:lnTo>
                  <a:pt x="6843589" y="78884"/>
                </a:lnTo>
                <a:lnTo>
                  <a:pt x="6848055" y="56997"/>
                </a:lnTo>
                <a:lnTo>
                  <a:pt x="6848055" y="56133"/>
                </a:lnTo>
                <a:lnTo>
                  <a:pt x="6843407" y="34247"/>
                </a:lnTo>
                <a:lnTo>
                  <a:pt x="6830945" y="16408"/>
                </a:lnTo>
                <a:lnTo>
                  <a:pt x="6812897" y="4398"/>
                </a:lnTo>
                <a:lnTo>
                  <a:pt x="6791490" y="0"/>
                </a:lnTo>
                <a:close/>
              </a:path>
              <a:path w="8402320" h="113664">
                <a:moveTo>
                  <a:pt x="7050519" y="0"/>
                </a:moveTo>
                <a:lnTo>
                  <a:pt x="7028929" y="4398"/>
                </a:lnTo>
                <a:lnTo>
                  <a:pt x="7010901" y="16408"/>
                </a:lnTo>
                <a:lnTo>
                  <a:pt x="6998541" y="34247"/>
                </a:lnTo>
                <a:lnTo>
                  <a:pt x="6993953" y="56133"/>
                </a:lnTo>
                <a:lnTo>
                  <a:pt x="6993953" y="56997"/>
                </a:lnTo>
                <a:lnTo>
                  <a:pt x="6998419" y="78884"/>
                </a:lnTo>
                <a:lnTo>
                  <a:pt x="7010577" y="96723"/>
                </a:lnTo>
                <a:lnTo>
                  <a:pt x="7028564" y="108732"/>
                </a:lnTo>
                <a:lnTo>
                  <a:pt x="7050519" y="113131"/>
                </a:lnTo>
                <a:lnTo>
                  <a:pt x="7072473" y="108732"/>
                </a:lnTo>
                <a:lnTo>
                  <a:pt x="7090460" y="96723"/>
                </a:lnTo>
                <a:lnTo>
                  <a:pt x="7102618" y="78884"/>
                </a:lnTo>
                <a:lnTo>
                  <a:pt x="7107085" y="56997"/>
                </a:lnTo>
                <a:lnTo>
                  <a:pt x="7107085" y="56133"/>
                </a:lnTo>
                <a:lnTo>
                  <a:pt x="7102436" y="34247"/>
                </a:lnTo>
                <a:lnTo>
                  <a:pt x="7089975" y="16408"/>
                </a:lnTo>
                <a:lnTo>
                  <a:pt x="7071927" y="4398"/>
                </a:lnTo>
                <a:lnTo>
                  <a:pt x="7050519" y="0"/>
                </a:lnTo>
                <a:close/>
              </a:path>
              <a:path w="8402320" h="113664">
                <a:moveTo>
                  <a:pt x="7309561" y="0"/>
                </a:moveTo>
                <a:lnTo>
                  <a:pt x="7287971" y="4398"/>
                </a:lnTo>
                <a:lnTo>
                  <a:pt x="7269943" y="16408"/>
                </a:lnTo>
                <a:lnTo>
                  <a:pt x="7257583" y="34247"/>
                </a:lnTo>
                <a:lnTo>
                  <a:pt x="7252995" y="56133"/>
                </a:lnTo>
                <a:lnTo>
                  <a:pt x="7252995" y="56997"/>
                </a:lnTo>
                <a:lnTo>
                  <a:pt x="7257461" y="78884"/>
                </a:lnTo>
                <a:lnTo>
                  <a:pt x="7269619" y="96723"/>
                </a:lnTo>
                <a:lnTo>
                  <a:pt x="7287606" y="108732"/>
                </a:lnTo>
                <a:lnTo>
                  <a:pt x="7309561" y="113131"/>
                </a:lnTo>
                <a:lnTo>
                  <a:pt x="7331515" y="108732"/>
                </a:lnTo>
                <a:lnTo>
                  <a:pt x="7349502" y="96723"/>
                </a:lnTo>
                <a:lnTo>
                  <a:pt x="7361660" y="78884"/>
                </a:lnTo>
                <a:lnTo>
                  <a:pt x="7366127" y="56997"/>
                </a:lnTo>
                <a:lnTo>
                  <a:pt x="7366127" y="56133"/>
                </a:lnTo>
                <a:lnTo>
                  <a:pt x="7361478" y="34247"/>
                </a:lnTo>
                <a:lnTo>
                  <a:pt x="7349016" y="16408"/>
                </a:lnTo>
                <a:lnTo>
                  <a:pt x="7330969" y="4398"/>
                </a:lnTo>
                <a:lnTo>
                  <a:pt x="7309561" y="0"/>
                </a:lnTo>
                <a:close/>
              </a:path>
              <a:path w="8402320" h="113664">
                <a:moveTo>
                  <a:pt x="7568590" y="0"/>
                </a:moveTo>
                <a:lnTo>
                  <a:pt x="7547000" y="4398"/>
                </a:lnTo>
                <a:lnTo>
                  <a:pt x="7528972" y="16408"/>
                </a:lnTo>
                <a:lnTo>
                  <a:pt x="7516612" y="34247"/>
                </a:lnTo>
                <a:lnTo>
                  <a:pt x="7512024" y="56133"/>
                </a:lnTo>
                <a:lnTo>
                  <a:pt x="7512024" y="56997"/>
                </a:lnTo>
                <a:lnTo>
                  <a:pt x="7516491" y="78884"/>
                </a:lnTo>
                <a:lnTo>
                  <a:pt x="7528648" y="96723"/>
                </a:lnTo>
                <a:lnTo>
                  <a:pt x="7546636" y="108732"/>
                </a:lnTo>
                <a:lnTo>
                  <a:pt x="7568590" y="113131"/>
                </a:lnTo>
                <a:lnTo>
                  <a:pt x="7590544" y="108732"/>
                </a:lnTo>
                <a:lnTo>
                  <a:pt x="7608531" y="96723"/>
                </a:lnTo>
                <a:lnTo>
                  <a:pt x="7620689" y="78884"/>
                </a:lnTo>
                <a:lnTo>
                  <a:pt x="7625156" y="56997"/>
                </a:lnTo>
                <a:lnTo>
                  <a:pt x="7625156" y="56133"/>
                </a:lnTo>
                <a:lnTo>
                  <a:pt x="7620507" y="34247"/>
                </a:lnTo>
                <a:lnTo>
                  <a:pt x="7608046" y="16408"/>
                </a:lnTo>
                <a:lnTo>
                  <a:pt x="7589998" y="4398"/>
                </a:lnTo>
                <a:lnTo>
                  <a:pt x="7568590" y="0"/>
                </a:lnTo>
                <a:close/>
              </a:path>
              <a:path w="8402320" h="113664">
                <a:moveTo>
                  <a:pt x="7827632" y="0"/>
                </a:moveTo>
                <a:lnTo>
                  <a:pt x="7806042" y="4398"/>
                </a:lnTo>
                <a:lnTo>
                  <a:pt x="7788014" y="16408"/>
                </a:lnTo>
                <a:lnTo>
                  <a:pt x="7775654" y="34247"/>
                </a:lnTo>
                <a:lnTo>
                  <a:pt x="7771066" y="56133"/>
                </a:lnTo>
                <a:lnTo>
                  <a:pt x="7771066" y="56997"/>
                </a:lnTo>
                <a:lnTo>
                  <a:pt x="7775532" y="78884"/>
                </a:lnTo>
                <a:lnTo>
                  <a:pt x="7787690" y="96723"/>
                </a:lnTo>
                <a:lnTo>
                  <a:pt x="7805677" y="108732"/>
                </a:lnTo>
                <a:lnTo>
                  <a:pt x="7827632" y="113131"/>
                </a:lnTo>
                <a:lnTo>
                  <a:pt x="7849586" y="108732"/>
                </a:lnTo>
                <a:lnTo>
                  <a:pt x="7867573" y="96723"/>
                </a:lnTo>
                <a:lnTo>
                  <a:pt x="7879731" y="78884"/>
                </a:lnTo>
                <a:lnTo>
                  <a:pt x="7884198" y="56997"/>
                </a:lnTo>
                <a:lnTo>
                  <a:pt x="7884198" y="56133"/>
                </a:lnTo>
                <a:lnTo>
                  <a:pt x="7879549" y="34247"/>
                </a:lnTo>
                <a:lnTo>
                  <a:pt x="7867088" y="16408"/>
                </a:lnTo>
                <a:lnTo>
                  <a:pt x="7849040" y="4398"/>
                </a:lnTo>
                <a:lnTo>
                  <a:pt x="7827632" y="0"/>
                </a:lnTo>
                <a:close/>
              </a:path>
              <a:path w="8402320" h="113664">
                <a:moveTo>
                  <a:pt x="8086661" y="0"/>
                </a:moveTo>
                <a:lnTo>
                  <a:pt x="8065071" y="4398"/>
                </a:lnTo>
                <a:lnTo>
                  <a:pt x="8047043" y="16408"/>
                </a:lnTo>
                <a:lnTo>
                  <a:pt x="8034683" y="34247"/>
                </a:lnTo>
                <a:lnTo>
                  <a:pt x="8030095" y="56133"/>
                </a:lnTo>
                <a:lnTo>
                  <a:pt x="8030095" y="56997"/>
                </a:lnTo>
                <a:lnTo>
                  <a:pt x="8034562" y="78884"/>
                </a:lnTo>
                <a:lnTo>
                  <a:pt x="8046719" y="96723"/>
                </a:lnTo>
                <a:lnTo>
                  <a:pt x="8064707" y="108732"/>
                </a:lnTo>
                <a:lnTo>
                  <a:pt x="8086661" y="113131"/>
                </a:lnTo>
                <a:lnTo>
                  <a:pt x="8108615" y="108732"/>
                </a:lnTo>
                <a:lnTo>
                  <a:pt x="8126603" y="96723"/>
                </a:lnTo>
                <a:lnTo>
                  <a:pt x="8138760" y="78884"/>
                </a:lnTo>
                <a:lnTo>
                  <a:pt x="8143227" y="56997"/>
                </a:lnTo>
                <a:lnTo>
                  <a:pt x="8143227" y="56133"/>
                </a:lnTo>
                <a:lnTo>
                  <a:pt x="8138578" y="34247"/>
                </a:lnTo>
                <a:lnTo>
                  <a:pt x="8126117" y="16408"/>
                </a:lnTo>
                <a:lnTo>
                  <a:pt x="8108069" y="4398"/>
                </a:lnTo>
                <a:lnTo>
                  <a:pt x="8086661" y="0"/>
                </a:lnTo>
                <a:close/>
              </a:path>
              <a:path w="8402320" h="113664">
                <a:moveTo>
                  <a:pt x="8345703" y="0"/>
                </a:moveTo>
                <a:lnTo>
                  <a:pt x="8324113" y="4398"/>
                </a:lnTo>
                <a:lnTo>
                  <a:pt x="8306085" y="16408"/>
                </a:lnTo>
                <a:lnTo>
                  <a:pt x="8293725" y="34247"/>
                </a:lnTo>
                <a:lnTo>
                  <a:pt x="8289137" y="56133"/>
                </a:lnTo>
                <a:lnTo>
                  <a:pt x="8289137" y="56997"/>
                </a:lnTo>
                <a:lnTo>
                  <a:pt x="8293604" y="78884"/>
                </a:lnTo>
                <a:lnTo>
                  <a:pt x="8305761" y="96723"/>
                </a:lnTo>
                <a:lnTo>
                  <a:pt x="8323749" y="108732"/>
                </a:lnTo>
                <a:lnTo>
                  <a:pt x="8345703" y="113131"/>
                </a:lnTo>
                <a:lnTo>
                  <a:pt x="8367657" y="108732"/>
                </a:lnTo>
                <a:lnTo>
                  <a:pt x="8385644" y="96723"/>
                </a:lnTo>
                <a:lnTo>
                  <a:pt x="8397802" y="78884"/>
                </a:lnTo>
                <a:lnTo>
                  <a:pt x="8402269" y="56997"/>
                </a:lnTo>
                <a:lnTo>
                  <a:pt x="8402269" y="56133"/>
                </a:lnTo>
                <a:lnTo>
                  <a:pt x="8397620" y="34247"/>
                </a:lnTo>
                <a:lnTo>
                  <a:pt x="8385159" y="16408"/>
                </a:lnTo>
                <a:lnTo>
                  <a:pt x="8367111" y="4398"/>
                </a:lnTo>
                <a:lnTo>
                  <a:pt x="8345703" y="0"/>
                </a:lnTo>
                <a:close/>
              </a:path>
            </a:pathLst>
          </a:custGeom>
          <a:solidFill>
            <a:srgbClr val="E2E3E4"/>
          </a:solidFill>
        </p:spPr>
        <p:txBody>
          <a:bodyPr wrap="square" lIns="0" tIns="0" rIns="0" bIns="0" rtlCol="0"/>
          <a:lstStyle/>
          <a:p>
            <a:endParaRPr sz="1800"/>
          </a:p>
        </p:txBody>
      </p:sp>
      <p:sp>
        <p:nvSpPr>
          <p:cNvPr id="13" name="object 2"/>
          <p:cNvSpPr/>
          <p:nvPr userDrawn="1"/>
        </p:nvSpPr>
        <p:spPr>
          <a:xfrm>
            <a:off x="494490" y="6385280"/>
            <a:ext cx="11203093" cy="113664"/>
          </a:xfrm>
          <a:custGeom>
            <a:avLst/>
            <a:gdLst/>
            <a:ahLst/>
            <a:cxnLst/>
            <a:rect l="l" t="t" r="r" b="b"/>
            <a:pathLst>
              <a:path w="8402320" h="113664">
                <a:moveTo>
                  <a:pt x="56565" y="0"/>
                </a:moveTo>
                <a:lnTo>
                  <a:pt x="34975" y="4398"/>
                </a:lnTo>
                <a:lnTo>
                  <a:pt x="16948" y="16408"/>
                </a:lnTo>
                <a:lnTo>
                  <a:pt x="4587" y="34247"/>
                </a:lnTo>
                <a:lnTo>
                  <a:pt x="0" y="56133"/>
                </a:lnTo>
                <a:lnTo>
                  <a:pt x="0" y="56997"/>
                </a:lnTo>
                <a:lnTo>
                  <a:pt x="4466" y="78884"/>
                </a:lnTo>
                <a:lnTo>
                  <a:pt x="16624" y="96723"/>
                </a:lnTo>
                <a:lnTo>
                  <a:pt x="34611" y="108732"/>
                </a:lnTo>
                <a:lnTo>
                  <a:pt x="56565" y="113131"/>
                </a:lnTo>
                <a:lnTo>
                  <a:pt x="78520" y="108732"/>
                </a:lnTo>
                <a:lnTo>
                  <a:pt x="96507" y="96723"/>
                </a:lnTo>
                <a:lnTo>
                  <a:pt x="108665" y="78884"/>
                </a:lnTo>
                <a:lnTo>
                  <a:pt x="113131" y="56997"/>
                </a:lnTo>
                <a:lnTo>
                  <a:pt x="113131" y="56133"/>
                </a:lnTo>
                <a:lnTo>
                  <a:pt x="108483" y="34247"/>
                </a:lnTo>
                <a:lnTo>
                  <a:pt x="96021" y="16408"/>
                </a:lnTo>
                <a:lnTo>
                  <a:pt x="77973" y="4398"/>
                </a:lnTo>
                <a:lnTo>
                  <a:pt x="56565" y="0"/>
                </a:lnTo>
                <a:close/>
              </a:path>
              <a:path w="8402320" h="113664">
                <a:moveTo>
                  <a:pt x="315595" y="0"/>
                </a:moveTo>
                <a:lnTo>
                  <a:pt x="294005" y="4398"/>
                </a:lnTo>
                <a:lnTo>
                  <a:pt x="275977" y="16408"/>
                </a:lnTo>
                <a:lnTo>
                  <a:pt x="263617" y="34247"/>
                </a:lnTo>
                <a:lnTo>
                  <a:pt x="259029" y="56133"/>
                </a:lnTo>
                <a:lnTo>
                  <a:pt x="259029" y="56997"/>
                </a:lnTo>
                <a:lnTo>
                  <a:pt x="263495" y="78884"/>
                </a:lnTo>
                <a:lnTo>
                  <a:pt x="275653" y="96723"/>
                </a:lnTo>
                <a:lnTo>
                  <a:pt x="293640" y="108732"/>
                </a:lnTo>
                <a:lnTo>
                  <a:pt x="315595" y="113131"/>
                </a:lnTo>
                <a:lnTo>
                  <a:pt x="337549" y="108732"/>
                </a:lnTo>
                <a:lnTo>
                  <a:pt x="355536" y="96723"/>
                </a:lnTo>
                <a:lnTo>
                  <a:pt x="367694" y="78884"/>
                </a:lnTo>
                <a:lnTo>
                  <a:pt x="372160" y="56997"/>
                </a:lnTo>
                <a:lnTo>
                  <a:pt x="372160" y="56133"/>
                </a:lnTo>
                <a:lnTo>
                  <a:pt x="367512" y="34247"/>
                </a:lnTo>
                <a:lnTo>
                  <a:pt x="355050" y="16408"/>
                </a:lnTo>
                <a:lnTo>
                  <a:pt x="337002" y="4398"/>
                </a:lnTo>
                <a:lnTo>
                  <a:pt x="315595" y="0"/>
                </a:lnTo>
                <a:close/>
              </a:path>
              <a:path w="8402320" h="113664">
                <a:moveTo>
                  <a:pt x="574636" y="0"/>
                </a:moveTo>
                <a:lnTo>
                  <a:pt x="553046" y="4398"/>
                </a:lnTo>
                <a:lnTo>
                  <a:pt x="535019" y="16408"/>
                </a:lnTo>
                <a:lnTo>
                  <a:pt x="522658" y="34247"/>
                </a:lnTo>
                <a:lnTo>
                  <a:pt x="518071" y="56133"/>
                </a:lnTo>
                <a:lnTo>
                  <a:pt x="518071" y="56997"/>
                </a:lnTo>
                <a:lnTo>
                  <a:pt x="522537" y="78884"/>
                </a:lnTo>
                <a:lnTo>
                  <a:pt x="534695" y="96723"/>
                </a:lnTo>
                <a:lnTo>
                  <a:pt x="552682" y="108732"/>
                </a:lnTo>
                <a:lnTo>
                  <a:pt x="574636" y="113131"/>
                </a:lnTo>
                <a:lnTo>
                  <a:pt x="596591" y="108732"/>
                </a:lnTo>
                <a:lnTo>
                  <a:pt x="614578" y="96723"/>
                </a:lnTo>
                <a:lnTo>
                  <a:pt x="626736" y="78884"/>
                </a:lnTo>
                <a:lnTo>
                  <a:pt x="631202" y="56997"/>
                </a:lnTo>
                <a:lnTo>
                  <a:pt x="631202" y="56133"/>
                </a:lnTo>
                <a:lnTo>
                  <a:pt x="626554" y="34247"/>
                </a:lnTo>
                <a:lnTo>
                  <a:pt x="614092" y="16408"/>
                </a:lnTo>
                <a:lnTo>
                  <a:pt x="596044" y="4398"/>
                </a:lnTo>
                <a:lnTo>
                  <a:pt x="574636" y="0"/>
                </a:lnTo>
                <a:close/>
              </a:path>
              <a:path w="8402320" h="113664">
                <a:moveTo>
                  <a:pt x="833666" y="0"/>
                </a:moveTo>
                <a:lnTo>
                  <a:pt x="812076" y="4398"/>
                </a:lnTo>
                <a:lnTo>
                  <a:pt x="794048" y="16408"/>
                </a:lnTo>
                <a:lnTo>
                  <a:pt x="781688" y="34247"/>
                </a:lnTo>
                <a:lnTo>
                  <a:pt x="777100" y="56133"/>
                </a:lnTo>
                <a:lnTo>
                  <a:pt x="777100" y="56997"/>
                </a:lnTo>
                <a:lnTo>
                  <a:pt x="781566" y="78884"/>
                </a:lnTo>
                <a:lnTo>
                  <a:pt x="793724" y="96723"/>
                </a:lnTo>
                <a:lnTo>
                  <a:pt x="811711" y="108732"/>
                </a:lnTo>
                <a:lnTo>
                  <a:pt x="833666" y="113131"/>
                </a:lnTo>
                <a:lnTo>
                  <a:pt x="855620" y="108732"/>
                </a:lnTo>
                <a:lnTo>
                  <a:pt x="873607" y="96723"/>
                </a:lnTo>
                <a:lnTo>
                  <a:pt x="885765" y="78884"/>
                </a:lnTo>
                <a:lnTo>
                  <a:pt x="890231" y="56997"/>
                </a:lnTo>
                <a:lnTo>
                  <a:pt x="890231" y="56133"/>
                </a:lnTo>
                <a:lnTo>
                  <a:pt x="885583" y="34247"/>
                </a:lnTo>
                <a:lnTo>
                  <a:pt x="873121" y="16408"/>
                </a:lnTo>
                <a:lnTo>
                  <a:pt x="855073" y="4398"/>
                </a:lnTo>
                <a:lnTo>
                  <a:pt x="833666" y="0"/>
                </a:lnTo>
                <a:close/>
              </a:path>
              <a:path w="8402320" h="113664">
                <a:moveTo>
                  <a:pt x="1092708" y="0"/>
                </a:moveTo>
                <a:lnTo>
                  <a:pt x="1071118" y="4398"/>
                </a:lnTo>
                <a:lnTo>
                  <a:pt x="1053090" y="16408"/>
                </a:lnTo>
                <a:lnTo>
                  <a:pt x="1040730" y="34247"/>
                </a:lnTo>
                <a:lnTo>
                  <a:pt x="1036142" y="56133"/>
                </a:lnTo>
                <a:lnTo>
                  <a:pt x="1036142" y="56997"/>
                </a:lnTo>
                <a:lnTo>
                  <a:pt x="1040608" y="78884"/>
                </a:lnTo>
                <a:lnTo>
                  <a:pt x="1052766" y="96723"/>
                </a:lnTo>
                <a:lnTo>
                  <a:pt x="1070753" y="108732"/>
                </a:lnTo>
                <a:lnTo>
                  <a:pt x="1092708" y="113131"/>
                </a:lnTo>
                <a:lnTo>
                  <a:pt x="1114662" y="108732"/>
                </a:lnTo>
                <a:lnTo>
                  <a:pt x="1132649" y="96723"/>
                </a:lnTo>
                <a:lnTo>
                  <a:pt x="1144807" y="78884"/>
                </a:lnTo>
                <a:lnTo>
                  <a:pt x="1149273" y="56997"/>
                </a:lnTo>
                <a:lnTo>
                  <a:pt x="1149273" y="56133"/>
                </a:lnTo>
                <a:lnTo>
                  <a:pt x="1144625" y="34247"/>
                </a:lnTo>
                <a:lnTo>
                  <a:pt x="1132163" y="16408"/>
                </a:lnTo>
                <a:lnTo>
                  <a:pt x="1114115" y="4398"/>
                </a:lnTo>
                <a:lnTo>
                  <a:pt x="1092708" y="0"/>
                </a:lnTo>
                <a:close/>
              </a:path>
              <a:path w="8402320" h="113664">
                <a:moveTo>
                  <a:pt x="1351737" y="0"/>
                </a:moveTo>
                <a:lnTo>
                  <a:pt x="1330147" y="4398"/>
                </a:lnTo>
                <a:lnTo>
                  <a:pt x="1312119" y="16408"/>
                </a:lnTo>
                <a:lnTo>
                  <a:pt x="1299759" y="34247"/>
                </a:lnTo>
                <a:lnTo>
                  <a:pt x="1295171" y="56133"/>
                </a:lnTo>
                <a:lnTo>
                  <a:pt x="1295171" y="56997"/>
                </a:lnTo>
                <a:lnTo>
                  <a:pt x="1299637" y="78884"/>
                </a:lnTo>
                <a:lnTo>
                  <a:pt x="1311795" y="96723"/>
                </a:lnTo>
                <a:lnTo>
                  <a:pt x="1329782" y="108732"/>
                </a:lnTo>
                <a:lnTo>
                  <a:pt x="1351737" y="113131"/>
                </a:lnTo>
                <a:lnTo>
                  <a:pt x="1373691" y="108732"/>
                </a:lnTo>
                <a:lnTo>
                  <a:pt x="1391678" y="96723"/>
                </a:lnTo>
                <a:lnTo>
                  <a:pt x="1403836" y="78884"/>
                </a:lnTo>
                <a:lnTo>
                  <a:pt x="1408303" y="56997"/>
                </a:lnTo>
                <a:lnTo>
                  <a:pt x="1408303" y="56133"/>
                </a:lnTo>
                <a:lnTo>
                  <a:pt x="1403654" y="34247"/>
                </a:lnTo>
                <a:lnTo>
                  <a:pt x="1391192" y="16408"/>
                </a:lnTo>
                <a:lnTo>
                  <a:pt x="1373145" y="4398"/>
                </a:lnTo>
                <a:lnTo>
                  <a:pt x="1351737" y="0"/>
                </a:lnTo>
                <a:close/>
              </a:path>
              <a:path w="8402320" h="113664">
                <a:moveTo>
                  <a:pt x="1610779" y="0"/>
                </a:moveTo>
                <a:lnTo>
                  <a:pt x="1589189" y="4398"/>
                </a:lnTo>
                <a:lnTo>
                  <a:pt x="1571161" y="16408"/>
                </a:lnTo>
                <a:lnTo>
                  <a:pt x="1558801" y="34247"/>
                </a:lnTo>
                <a:lnTo>
                  <a:pt x="1554213" y="56133"/>
                </a:lnTo>
                <a:lnTo>
                  <a:pt x="1554213" y="56997"/>
                </a:lnTo>
                <a:lnTo>
                  <a:pt x="1558679" y="78884"/>
                </a:lnTo>
                <a:lnTo>
                  <a:pt x="1570837" y="96723"/>
                </a:lnTo>
                <a:lnTo>
                  <a:pt x="1588824" y="108732"/>
                </a:lnTo>
                <a:lnTo>
                  <a:pt x="1610779" y="113131"/>
                </a:lnTo>
                <a:lnTo>
                  <a:pt x="1632733" y="108732"/>
                </a:lnTo>
                <a:lnTo>
                  <a:pt x="1650720" y="96723"/>
                </a:lnTo>
                <a:lnTo>
                  <a:pt x="1662878" y="78884"/>
                </a:lnTo>
                <a:lnTo>
                  <a:pt x="1667344" y="56997"/>
                </a:lnTo>
                <a:lnTo>
                  <a:pt x="1667344" y="56133"/>
                </a:lnTo>
                <a:lnTo>
                  <a:pt x="1662696" y="34247"/>
                </a:lnTo>
                <a:lnTo>
                  <a:pt x="1650234" y="16408"/>
                </a:lnTo>
                <a:lnTo>
                  <a:pt x="1632186" y="4398"/>
                </a:lnTo>
                <a:lnTo>
                  <a:pt x="1610779" y="0"/>
                </a:lnTo>
                <a:close/>
              </a:path>
              <a:path w="8402320" h="113664">
                <a:moveTo>
                  <a:pt x="1869808" y="0"/>
                </a:moveTo>
                <a:lnTo>
                  <a:pt x="1848218" y="4398"/>
                </a:lnTo>
                <a:lnTo>
                  <a:pt x="1830190" y="16408"/>
                </a:lnTo>
                <a:lnTo>
                  <a:pt x="1817830" y="34247"/>
                </a:lnTo>
                <a:lnTo>
                  <a:pt x="1813242" y="56133"/>
                </a:lnTo>
                <a:lnTo>
                  <a:pt x="1813242" y="56997"/>
                </a:lnTo>
                <a:lnTo>
                  <a:pt x="1817708" y="78884"/>
                </a:lnTo>
                <a:lnTo>
                  <a:pt x="1829866" y="96723"/>
                </a:lnTo>
                <a:lnTo>
                  <a:pt x="1847853" y="108732"/>
                </a:lnTo>
                <a:lnTo>
                  <a:pt x="1869808" y="113131"/>
                </a:lnTo>
                <a:lnTo>
                  <a:pt x="1891762" y="108732"/>
                </a:lnTo>
                <a:lnTo>
                  <a:pt x="1909749" y="96723"/>
                </a:lnTo>
                <a:lnTo>
                  <a:pt x="1921907" y="78884"/>
                </a:lnTo>
                <a:lnTo>
                  <a:pt x="1926374" y="56997"/>
                </a:lnTo>
                <a:lnTo>
                  <a:pt x="1926374" y="56133"/>
                </a:lnTo>
                <a:lnTo>
                  <a:pt x="1921725" y="34247"/>
                </a:lnTo>
                <a:lnTo>
                  <a:pt x="1909264" y="16408"/>
                </a:lnTo>
                <a:lnTo>
                  <a:pt x="1891216" y="4398"/>
                </a:lnTo>
                <a:lnTo>
                  <a:pt x="1869808" y="0"/>
                </a:lnTo>
                <a:close/>
              </a:path>
              <a:path w="8402320" h="113664">
                <a:moveTo>
                  <a:pt x="2128850" y="0"/>
                </a:moveTo>
                <a:lnTo>
                  <a:pt x="2107260" y="4398"/>
                </a:lnTo>
                <a:lnTo>
                  <a:pt x="2089232" y="16408"/>
                </a:lnTo>
                <a:lnTo>
                  <a:pt x="2076872" y="34247"/>
                </a:lnTo>
                <a:lnTo>
                  <a:pt x="2072284" y="56133"/>
                </a:lnTo>
                <a:lnTo>
                  <a:pt x="2072284" y="56997"/>
                </a:lnTo>
                <a:lnTo>
                  <a:pt x="2076750" y="78884"/>
                </a:lnTo>
                <a:lnTo>
                  <a:pt x="2088908" y="96723"/>
                </a:lnTo>
                <a:lnTo>
                  <a:pt x="2106895" y="108732"/>
                </a:lnTo>
                <a:lnTo>
                  <a:pt x="2128850" y="113131"/>
                </a:lnTo>
                <a:lnTo>
                  <a:pt x="2150804" y="108732"/>
                </a:lnTo>
                <a:lnTo>
                  <a:pt x="2168791" y="96723"/>
                </a:lnTo>
                <a:lnTo>
                  <a:pt x="2180949" y="78884"/>
                </a:lnTo>
                <a:lnTo>
                  <a:pt x="2185416" y="56997"/>
                </a:lnTo>
                <a:lnTo>
                  <a:pt x="2185416" y="56133"/>
                </a:lnTo>
                <a:lnTo>
                  <a:pt x="2180767" y="34247"/>
                </a:lnTo>
                <a:lnTo>
                  <a:pt x="2168305" y="16408"/>
                </a:lnTo>
                <a:lnTo>
                  <a:pt x="2150258" y="4398"/>
                </a:lnTo>
                <a:lnTo>
                  <a:pt x="2128850" y="0"/>
                </a:lnTo>
                <a:close/>
              </a:path>
              <a:path w="8402320" h="113664">
                <a:moveTo>
                  <a:pt x="2387879" y="0"/>
                </a:moveTo>
                <a:lnTo>
                  <a:pt x="2366289" y="4398"/>
                </a:lnTo>
                <a:lnTo>
                  <a:pt x="2348261" y="16408"/>
                </a:lnTo>
                <a:lnTo>
                  <a:pt x="2335901" y="34247"/>
                </a:lnTo>
                <a:lnTo>
                  <a:pt x="2331313" y="56133"/>
                </a:lnTo>
                <a:lnTo>
                  <a:pt x="2331313" y="56997"/>
                </a:lnTo>
                <a:lnTo>
                  <a:pt x="2335780" y="78884"/>
                </a:lnTo>
                <a:lnTo>
                  <a:pt x="2347937" y="96723"/>
                </a:lnTo>
                <a:lnTo>
                  <a:pt x="2365925" y="108732"/>
                </a:lnTo>
                <a:lnTo>
                  <a:pt x="2387879" y="113131"/>
                </a:lnTo>
                <a:lnTo>
                  <a:pt x="2409833" y="108732"/>
                </a:lnTo>
                <a:lnTo>
                  <a:pt x="2427820" y="96723"/>
                </a:lnTo>
                <a:lnTo>
                  <a:pt x="2439978" y="78884"/>
                </a:lnTo>
                <a:lnTo>
                  <a:pt x="2444445" y="56997"/>
                </a:lnTo>
                <a:lnTo>
                  <a:pt x="2444445" y="56133"/>
                </a:lnTo>
                <a:lnTo>
                  <a:pt x="2439796" y="34247"/>
                </a:lnTo>
                <a:lnTo>
                  <a:pt x="2427335" y="16408"/>
                </a:lnTo>
                <a:lnTo>
                  <a:pt x="2409287" y="4398"/>
                </a:lnTo>
                <a:lnTo>
                  <a:pt x="2387879" y="0"/>
                </a:lnTo>
                <a:close/>
              </a:path>
              <a:path w="8402320" h="113664">
                <a:moveTo>
                  <a:pt x="2646921" y="0"/>
                </a:moveTo>
                <a:lnTo>
                  <a:pt x="2625331" y="4398"/>
                </a:lnTo>
                <a:lnTo>
                  <a:pt x="2607303" y="16408"/>
                </a:lnTo>
                <a:lnTo>
                  <a:pt x="2594943" y="34247"/>
                </a:lnTo>
                <a:lnTo>
                  <a:pt x="2590355" y="56133"/>
                </a:lnTo>
                <a:lnTo>
                  <a:pt x="2590355" y="56997"/>
                </a:lnTo>
                <a:lnTo>
                  <a:pt x="2594821" y="78884"/>
                </a:lnTo>
                <a:lnTo>
                  <a:pt x="2606979" y="96723"/>
                </a:lnTo>
                <a:lnTo>
                  <a:pt x="2624966" y="108732"/>
                </a:lnTo>
                <a:lnTo>
                  <a:pt x="2646921" y="113131"/>
                </a:lnTo>
                <a:lnTo>
                  <a:pt x="2668875" y="108732"/>
                </a:lnTo>
                <a:lnTo>
                  <a:pt x="2686862" y="96723"/>
                </a:lnTo>
                <a:lnTo>
                  <a:pt x="2699020" y="78884"/>
                </a:lnTo>
                <a:lnTo>
                  <a:pt x="2703487" y="56997"/>
                </a:lnTo>
                <a:lnTo>
                  <a:pt x="2703487" y="56133"/>
                </a:lnTo>
                <a:lnTo>
                  <a:pt x="2698838" y="34247"/>
                </a:lnTo>
                <a:lnTo>
                  <a:pt x="2686377" y="16408"/>
                </a:lnTo>
                <a:lnTo>
                  <a:pt x="2668329" y="4398"/>
                </a:lnTo>
                <a:lnTo>
                  <a:pt x="2646921" y="0"/>
                </a:lnTo>
                <a:close/>
              </a:path>
              <a:path w="8402320" h="113664">
                <a:moveTo>
                  <a:pt x="2905950" y="0"/>
                </a:moveTo>
                <a:lnTo>
                  <a:pt x="2884360" y="4398"/>
                </a:lnTo>
                <a:lnTo>
                  <a:pt x="2866332" y="16408"/>
                </a:lnTo>
                <a:lnTo>
                  <a:pt x="2853972" y="34247"/>
                </a:lnTo>
                <a:lnTo>
                  <a:pt x="2849384" y="56133"/>
                </a:lnTo>
                <a:lnTo>
                  <a:pt x="2849384" y="56997"/>
                </a:lnTo>
                <a:lnTo>
                  <a:pt x="2853851" y="78884"/>
                </a:lnTo>
                <a:lnTo>
                  <a:pt x="2866009" y="96723"/>
                </a:lnTo>
                <a:lnTo>
                  <a:pt x="2883996" y="108732"/>
                </a:lnTo>
                <a:lnTo>
                  <a:pt x="2905950" y="113131"/>
                </a:lnTo>
                <a:lnTo>
                  <a:pt x="2927904" y="108732"/>
                </a:lnTo>
                <a:lnTo>
                  <a:pt x="2945892" y="96723"/>
                </a:lnTo>
                <a:lnTo>
                  <a:pt x="2958049" y="78884"/>
                </a:lnTo>
                <a:lnTo>
                  <a:pt x="2962516" y="56997"/>
                </a:lnTo>
                <a:lnTo>
                  <a:pt x="2962516" y="56133"/>
                </a:lnTo>
                <a:lnTo>
                  <a:pt x="2957867" y="34247"/>
                </a:lnTo>
                <a:lnTo>
                  <a:pt x="2945406" y="16408"/>
                </a:lnTo>
                <a:lnTo>
                  <a:pt x="2927358" y="4398"/>
                </a:lnTo>
                <a:lnTo>
                  <a:pt x="2905950" y="0"/>
                </a:lnTo>
                <a:close/>
              </a:path>
              <a:path w="8402320" h="113664">
                <a:moveTo>
                  <a:pt x="3164992" y="0"/>
                </a:moveTo>
                <a:lnTo>
                  <a:pt x="3143402" y="4398"/>
                </a:lnTo>
                <a:lnTo>
                  <a:pt x="3125374" y="16408"/>
                </a:lnTo>
                <a:lnTo>
                  <a:pt x="3113014" y="34247"/>
                </a:lnTo>
                <a:lnTo>
                  <a:pt x="3108426" y="56133"/>
                </a:lnTo>
                <a:lnTo>
                  <a:pt x="3108426" y="56997"/>
                </a:lnTo>
                <a:lnTo>
                  <a:pt x="3112893" y="78884"/>
                </a:lnTo>
                <a:lnTo>
                  <a:pt x="3125050" y="96723"/>
                </a:lnTo>
                <a:lnTo>
                  <a:pt x="3143038" y="108732"/>
                </a:lnTo>
                <a:lnTo>
                  <a:pt x="3164992" y="113131"/>
                </a:lnTo>
                <a:lnTo>
                  <a:pt x="3186946" y="108732"/>
                </a:lnTo>
                <a:lnTo>
                  <a:pt x="3204933" y="96723"/>
                </a:lnTo>
                <a:lnTo>
                  <a:pt x="3217091" y="78884"/>
                </a:lnTo>
                <a:lnTo>
                  <a:pt x="3221558" y="56997"/>
                </a:lnTo>
                <a:lnTo>
                  <a:pt x="3221558" y="56133"/>
                </a:lnTo>
                <a:lnTo>
                  <a:pt x="3216909" y="34247"/>
                </a:lnTo>
                <a:lnTo>
                  <a:pt x="3204448" y="16408"/>
                </a:lnTo>
                <a:lnTo>
                  <a:pt x="3186400" y="4398"/>
                </a:lnTo>
                <a:lnTo>
                  <a:pt x="3164992" y="0"/>
                </a:lnTo>
                <a:close/>
              </a:path>
              <a:path w="8402320" h="113664">
                <a:moveTo>
                  <a:pt x="3424021" y="0"/>
                </a:moveTo>
                <a:lnTo>
                  <a:pt x="3402431" y="4398"/>
                </a:lnTo>
                <a:lnTo>
                  <a:pt x="3384403" y="16408"/>
                </a:lnTo>
                <a:lnTo>
                  <a:pt x="3372043" y="34247"/>
                </a:lnTo>
                <a:lnTo>
                  <a:pt x="3367455" y="56133"/>
                </a:lnTo>
                <a:lnTo>
                  <a:pt x="3367455" y="56997"/>
                </a:lnTo>
                <a:lnTo>
                  <a:pt x="3371922" y="78884"/>
                </a:lnTo>
                <a:lnTo>
                  <a:pt x="3384080" y="96723"/>
                </a:lnTo>
                <a:lnTo>
                  <a:pt x="3402067" y="108732"/>
                </a:lnTo>
                <a:lnTo>
                  <a:pt x="3424021" y="113131"/>
                </a:lnTo>
                <a:lnTo>
                  <a:pt x="3445975" y="108732"/>
                </a:lnTo>
                <a:lnTo>
                  <a:pt x="3463963" y="96723"/>
                </a:lnTo>
                <a:lnTo>
                  <a:pt x="3476120" y="78884"/>
                </a:lnTo>
                <a:lnTo>
                  <a:pt x="3480587" y="56997"/>
                </a:lnTo>
                <a:lnTo>
                  <a:pt x="3480587" y="56133"/>
                </a:lnTo>
                <a:lnTo>
                  <a:pt x="3475938" y="34247"/>
                </a:lnTo>
                <a:lnTo>
                  <a:pt x="3463477" y="16408"/>
                </a:lnTo>
                <a:lnTo>
                  <a:pt x="3445429" y="4398"/>
                </a:lnTo>
                <a:lnTo>
                  <a:pt x="3424021" y="0"/>
                </a:lnTo>
                <a:close/>
              </a:path>
              <a:path w="8402320" h="113664">
                <a:moveTo>
                  <a:pt x="3683063" y="0"/>
                </a:moveTo>
                <a:lnTo>
                  <a:pt x="3661473" y="4398"/>
                </a:lnTo>
                <a:lnTo>
                  <a:pt x="3643445" y="16408"/>
                </a:lnTo>
                <a:lnTo>
                  <a:pt x="3631085" y="34247"/>
                </a:lnTo>
                <a:lnTo>
                  <a:pt x="3626497" y="56133"/>
                </a:lnTo>
                <a:lnTo>
                  <a:pt x="3626497" y="56997"/>
                </a:lnTo>
                <a:lnTo>
                  <a:pt x="3630964" y="78884"/>
                </a:lnTo>
                <a:lnTo>
                  <a:pt x="3643122" y="96723"/>
                </a:lnTo>
                <a:lnTo>
                  <a:pt x="3661109" y="108732"/>
                </a:lnTo>
                <a:lnTo>
                  <a:pt x="3683063" y="113131"/>
                </a:lnTo>
                <a:lnTo>
                  <a:pt x="3705017" y="108732"/>
                </a:lnTo>
                <a:lnTo>
                  <a:pt x="3723005" y="96723"/>
                </a:lnTo>
                <a:lnTo>
                  <a:pt x="3735162" y="78884"/>
                </a:lnTo>
                <a:lnTo>
                  <a:pt x="3739629" y="56997"/>
                </a:lnTo>
                <a:lnTo>
                  <a:pt x="3739629" y="56133"/>
                </a:lnTo>
                <a:lnTo>
                  <a:pt x="3734980" y="34247"/>
                </a:lnTo>
                <a:lnTo>
                  <a:pt x="3722519" y="16408"/>
                </a:lnTo>
                <a:lnTo>
                  <a:pt x="3704471" y="4398"/>
                </a:lnTo>
                <a:lnTo>
                  <a:pt x="3683063" y="0"/>
                </a:lnTo>
                <a:close/>
              </a:path>
              <a:path w="8402320" h="113664">
                <a:moveTo>
                  <a:pt x="3942092" y="0"/>
                </a:moveTo>
                <a:lnTo>
                  <a:pt x="3920502" y="4398"/>
                </a:lnTo>
                <a:lnTo>
                  <a:pt x="3902475" y="16408"/>
                </a:lnTo>
                <a:lnTo>
                  <a:pt x="3890114" y="34247"/>
                </a:lnTo>
                <a:lnTo>
                  <a:pt x="3885526" y="56133"/>
                </a:lnTo>
                <a:lnTo>
                  <a:pt x="3885526" y="56997"/>
                </a:lnTo>
                <a:lnTo>
                  <a:pt x="3889993" y="78884"/>
                </a:lnTo>
                <a:lnTo>
                  <a:pt x="3902151" y="96723"/>
                </a:lnTo>
                <a:lnTo>
                  <a:pt x="3920138" y="108732"/>
                </a:lnTo>
                <a:lnTo>
                  <a:pt x="3942092" y="113131"/>
                </a:lnTo>
                <a:lnTo>
                  <a:pt x="3964047" y="108732"/>
                </a:lnTo>
                <a:lnTo>
                  <a:pt x="3982034" y="96723"/>
                </a:lnTo>
                <a:lnTo>
                  <a:pt x="3994192" y="78884"/>
                </a:lnTo>
                <a:lnTo>
                  <a:pt x="3998658" y="56997"/>
                </a:lnTo>
                <a:lnTo>
                  <a:pt x="3998658" y="56133"/>
                </a:lnTo>
                <a:lnTo>
                  <a:pt x="3994009" y="34247"/>
                </a:lnTo>
                <a:lnTo>
                  <a:pt x="3981548" y="16408"/>
                </a:lnTo>
                <a:lnTo>
                  <a:pt x="3963500" y="4398"/>
                </a:lnTo>
                <a:lnTo>
                  <a:pt x="3942092" y="0"/>
                </a:lnTo>
                <a:close/>
              </a:path>
              <a:path w="8402320" h="113664">
                <a:moveTo>
                  <a:pt x="4201134" y="0"/>
                </a:moveTo>
                <a:lnTo>
                  <a:pt x="4179544" y="4398"/>
                </a:lnTo>
                <a:lnTo>
                  <a:pt x="4161516" y="16408"/>
                </a:lnTo>
                <a:lnTo>
                  <a:pt x="4149156" y="34247"/>
                </a:lnTo>
                <a:lnTo>
                  <a:pt x="4144568" y="56133"/>
                </a:lnTo>
                <a:lnTo>
                  <a:pt x="4144568" y="56997"/>
                </a:lnTo>
                <a:lnTo>
                  <a:pt x="4149035" y="78884"/>
                </a:lnTo>
                <a:lnTo>
                  <a:pt x="4161193" y="96723"/>
                </a:lnTo>
                <a:lnTo>
                  <a:pt x="4179180" y="108732"/>
                </a:lnTo>
                <a:lnTo>
                  <a:pt x="4201134" y="113131"/>
                </a:lnTo>
                <a:lnTo>
                  <a:pt x="4223088" y="108732"/>
                </a:lnTo>
                <a:lnTo>
                  <a:pt x="4241076" y="96723"/>
                </a:lnTo>
                <a:lnTo>
                  <a:pt x="4253233" y="78884"/>
                </a:lnTo>
                <a:lnTo>
                  <a:pt x="4257700" y="56997"/>
                </a:lnTo>
                <a:lnTo>
                  <a:pt x="4257700" y="56133"/>
                </a:lnTo>
                <a:lnTo>
                  <a:pt x="4253051" y="34247"/>
                </a:lnTo>
                <a:lnTo>
                  <a:pt x="4240590" y="16408"/>
                </a:lnTo>
                <a:lnTo>
                  <a:pt x="4222542" y="4398"/>
                </a:lnTo>
                <a:lnTo>
                  <a:pt x="4201134" y="0"/>
                </a:lnTo>
                <a:close/>
              </a:path>
              <a:path w="8402320" h="113664">
                <a:moveTo>
                  <a:pt x="4460163" y="0"/>
                </a:moveTo>
                <a:lnTo>
                  <a:pt x="4438573" y="4398"/>
                </a:lnTo>
                <a:lnTo>
                  <a:pt x="4420546" y="16408"/>
                </a:lnTo>
                <a:lnTo>
                  <a:pt x="4408185" y="34247"/>
                </a:lnTo>
                <a:lnTo>
                  <a:pt x="4403598" y="56133"/>
                </a:lnTo>
                <a:lnTo>
                  <a:pt x="4403598" y="56997"/>
                </a:lnTo>
                <a:lnTo>
                  <a:pt x="4408064" y="78884"/>
                </a:lnTo>
                <a:lnTo>
                  <a:pt x="4420222" y="96723"/>
                </a:lnTo>
                <a:lnTo>
                  <a:pt x="4438209" y="108732"/>
                </a:lnTo>
                <a:lnTo>
                  <a:pt x="4460163" y="113131"/>
                </a:lnTo>
                <a:lnTo>
                  <a:pt x="4482118" y="108732"/>
                </a:lnTo>
                <a:lnTo>
                  <a:pt x="4500105" y="96723"/>
                </a:lnTo>
                <a:lnTo>
                  <a:pt x="4512263" y="78884"/>
                </a:lnTo>
                <a:lnTo>
                  <a:pt x="4516729" y="56997"/>
                </a:lnTo>
                <a:lnTo>
                  <a:pt x="4516729" y="56133"/>
                </a:lnTo>
                <a:lnTo>
                  <a:pt x="4512081" y="34247"/>
                </a:lnTo>
                <a:lnTo>
                  <a:pt x="4499619" y="16408"/>
                </a:lnTo>
                <a:lnTo>
                  <a:pt x="4481571" y="4398"/>
                </a:lnTo>
                <a:lnTo>
                  <a:pt x="4460163" y="0"/>
                </a:lnTo>
                <a:close/>
              </a:path>
              <a:path w="8402320" h="113664">
                <a:moveTo>
                  <a:pt x="4719205" y="0"/>
                </a:moveTo>
                <a:lnTo>
                  <a:pt x="4697615" y="4398"/>
                </a:lnTo>
                <a:lnTo>
                  <a:pt x="4679588" y="16408"/>
                </a:lnTo>
                <a:lnTo>
                  <a:pt x="4667227" y="34247"/>
                </a:lnTo>
                <a:lnTo>
                  <a:pt x="4662639" y="56133"/>
                </a:lnTo>
                <a:lnTo>
                  <a:pt x="4662639" y="56997"/>
                </a:lnTo>
                <a:lnTo>
                  <a:pt x="4667106" y="78884"/>
                </a:lnTo>
                <a:lnTo>
                  <a:pt x="4679264" y="96723"/>
                </a:lnTo>
                <a:lnTo>
                  <a:pt x="4697251" y="108732"/>
                </a:lnTo>
                <a:lnTo>
                  <a:pt x="4719205" y="113131"/>
                </a:lnTo>
                <a:lnTo>
                  <a:pt x="4741160" y="108732"/>
                </a:lnTo>
                <a:lnTo>
                  <a:pt x="4759147" y="96723"/>
                </a:lnTo>
                <a:lnTo>
                  <a:pt x="4771305" y="78884"/>
                </a:lnTo>
                <a:lnTo>
                  <a:pt x="4775771" y="56997"/>
                </a:lnTo>
                <a:lnTo>
                  <a:pt x="4775771" y="56133"/>
                </a:lnTo>
                <a:lnTo>
                  <a:pt x="4771122" y="34247"/>
                </a:lnTo>
                <a:lnTo>
                  <a:pt x="4758661" y="16408"/>
                </a:lnTo>
                <a:lnTo>
                  <a:pt x="4740613" y="4398"/>
                </a:lnTo>
                <a:lnTo>
                  <a:pt x="4719205" y="0"/>
                </a:lnTo>
                <a:close/>
              </a:path>
              <a:path w="8402320" h="113664">
                <a:moveTo>
                  <a:pt x="4978234" y="0"/>
                </a:moveTo>
                <a:lnTo>
                  <a:pt x="4956644" y="4398"/>
                </a:lnTo>
                <a:lnTo>
                  <a:pt x="4938617" y="16408"/>
                </a:lnTo>
                <a:lnTo>
                  <a:pt x="4926256" y="34247"/>
                </a:lnTo>
                <a:lnTo>
                  <a:pt x="4921669" y="56133"/>
                </a:lnTo>
                <a:lnTo>
                  <a:pt x="4921669" y="56997"/>
                </a:lnTo>
                <a:lnTo>
                  <a:pt x="4926135" y="78884"/>
                </a:lnTo>
                <a:lnTo>
                  <a:pt x="4938293" y="96723"/>
                </a:lnTo>
                <a:lnTo>
                  <a:pt x="4956280" y="108732"/>
                </a:lnTo>
                <a:lnTo>
                  <a:pt x="4978234" y="113131"/>
                </a:lnTo>
                <a:lnTo>
                  <a:pt x="5000189" y="108732"/>
                </a:lnTo>
                <a:lnTo>
                  <a:pt x="5018176" y="96723"/>
                </a:lnTo>
                <a:lnTo>
                  <a:pt x="5030334" y="78884"/>
                </a:lnTo>
                <a:lnTo>
                  <a:pt x="5034800" y="56997"/>
                </a:lnTo>
                <a:lnTo>
                  <a:pt x="5034800" y="56133"/>
                </a:lnTo>
                <a:lnTo>
                  <a:pt x="5030152" y="34247"/>
                </a:lnTo>
                <a:lnTo>
                  <a:pt x="5017690" y="16408"/>
                </a:lnTo>
                <a:lnTo>
                  <a:pt x="4999642" y="4398"/>
                </a:lnTo>
                <a:lnTo>
                  <a:pt x="4978234" y="0"/>
                </a:lnTo>
                <a:close/>
              </a:path>
              <a:path w="8402320" h="113664">
                <a:moveTo>
                  <a:pt x="5237276" y="0"/>
                </a:moveTo>
                <a:lnTo>
                  <a:pt x="5215686" y="4398"/>
                </a:lnTo>
                <a:lnTo>
                  <a:pt x="5197659" y="16408"/>
                </a:lnTo>
                <a:lnTo>
                  <a:pt x="5185298" y="34247"/>
                </a:lnTo>
                <a:lnTo>
                  <a:pt x="5180711" y="56133"/>
                </a:lnTo>
                <a:lnTo>
                  <a:pt x="5180711" y="56997"/>
                </a:lnTo>
                <a:lnTo>
                  <a:pt x="5185177" y="78884"/>
                </a:lnTo>
                <a:lnTo>
                  <a:pt x="5197335" y="96723"/>
                </a:lnTo>
                <a:lnTo>
                  <a:pt x="5215322" y="108732"/>
                </a:lnTo>
                <a:lnTo>
                  <a:pt x="5237276" y="113131"/>
                </a:lnTo>
                <a:lnTo>
                  <a:pt x="5259231" y="108732"/>
                </a:lnTo>
                <a:lnTo>
                  <a:pt x="5277218" y="96723"/>
                </a:lnTo>
                <a:lnTo>
                  <a:pt x="5289376" y="78884"/>
                </a:lnTo>
                <a:lnTo>
                  <a:pt x="5293842" y="56997"/>
                </a:lnTo>
                <a:lnTo>
                  <a:pt x="5293842" y="56133"/>
                </a:lnTo>
                <a:lnTo>
                  <a:pt x="5289194" y="34247"/>
                </a:lnTo>
                <a:lnTo>
                  <a:pt x="5276732" y="16408"/>
                </a:lnTo>
                <a:lnTo>
                  <a:pt x="5258684" y="4398"/>
                </a:lnTo>
                <a:lnTo>
                  <a:pt x="5237276" y="0"/>
                </a:lnTo>
                <a:close/>
              </a:path>
              <a:path w="8402320" h="113664">
                <a:moveTo>
                  <a:pt x="5496306" y="0"/>
                </a:moveTo>
                <a:lnTo>
                  <a:pt x="5474716" y="4398"/>
                </a:lnTo>
                <a:lnTo>
                  <a:pt x="5456688" y="16408"/>
                </a:lnTo>
                <a:lnTo>
                  <a:pt x="5444328" y="34247"/>
                </a:lnTo>
                <a:lnTo>
                  <a:pt x="5439740" y="56133"/>
                </a:lnTo>
                <a:lnTo>
                  <a:pt x="5439740" y="56997"/>
                </a:lnTo>
                <a:lnTo>
                  <a:pt x="5444206" y="78884"/>
                </a:lnTo>
                <a:lnTo>
                  <a:pt x="5456364" y="96723"/>
                </a:lnTo>
                <a:lnTo>
                  <a:pt x="5474351" y="108732"/>
                </a:lnTo>
                <a:lnTo>
                  <a:pt x="5496306" y="113131"/>
                </a:lnTo>
                <a:lnTo>
                  <a:pt x="5518260" y="108732"/>
                </a:lnTo>
                <a:lnTo>
                  <a:pt x="5536247" y="96723"/>
                </a:lnTo>
                <a:lnTo>
                  <a:pt x="5548405" y="78884"/>
                </a:lnTo>
                <a:lnTo>
                  <a:pt x="5552871" y="56997"/>
                </a:lnTo>
                <a:lnTo>
                  <a:pt x="5552871" y="56133"/>
                </a:lnTo>
                <a:lnTo>
                  <a:pt x="5548223" y="34247"/>
                </a:lnTo>
                <a:lnTo>
                  <a:pt x="5535761" y="16408"/>
                </a:lnTo>
                <a:lnTo>
                  <a:pt x="5517713" y="4398"/>
                </a:lnTo>
                <a:lnTo>
                  <a:pt x="5496306" y="0"/>
                </a:lnTo>
                <a:close/>
              </a:path>
              <a:path w="8402320" h="113664">
                <a:moveTo>
                  <a:pt x="5755347" y="0"/>
                </a:moveTo>
                <a:lnTo>
                  <a:pt x="5733757" y="4398"/>
                </a:lnTo>
                <a:lnTo>
                  <a:pt x="5715730" y="16408"/>
                </a:lnTo>
                <a:lnTo>
                  <a:pt x="5703369" y="34247"/>
                </a:lnTo>
                <a:lnTo>
                  <a:pt x="5698782" y="56133"/>
                </a:lnTo>
                <a:lnTo>
                  <a:pt x="5698782" y="56997"/>
                </a:lnTo>
                <a:lnTo>
                  <a:pt x="5703248" y="78884"/>
                </a:lnTo>
                <a:lnTo>
                  <a:pt x="5715406" y="96723"/>
                </a:lnTo>
                <a:lnTo>
                  <a:pt x="5733393" y="108732"/>
                </a:lnTo>
                <a:lnTo>
                  <a:pt x="5755347" y="113131"/>
                </a:lnTo>
                <a:lnTo>
                  <a:pt x="5777302" y="108732"/>
                </a:lnTo>
                <a:lnTo>
                  <a:pt x="5795289" y="96723"/>
                </a:lnTo>
                <a:lnTo>
                  <a:pt x="5807447" y="78884"/>
                </a:lnTo>
                <a:lnTo>
                  <a:pt x="5811913" y="56997"/>
                </a:lnTo>
                <a:lnTo>
                  <a:pt x="5811913" y="56133"/>
                </a:lnTo>
                <a:lnTo>
                  <a:pt x="5807265" y="34247"/>
                </a:lnTo>
                <a:lnTo>
                  <a:pt x="5794803" y="16408"/>
                </a:lnTo>
                <a:lnTo>
                  <a:pt x="5776755" y="4398"/>
                </a:lnTo>
                <a:lnTo>
                  <a:pt x="5755347" y="0"/>
                </a:lnTo>
                <a:close/>
              </a:path>
              <a:path w="8402320" h="113664">
                <a:moveTo>
                  <a:pt x="6014377" y="0"/>
                </a:moveTo>
                <a:lnTo>
                  <a:pt x="5992787" y="4398"/>
                </a:lnTo>
                <a:lnTo>
                  <a:pt x="5974759" y="16408"/>
                </a:lnTo>
                <a:lnTo>
                  <a:pt x="5962399" y="34247"/>
                </a:lnTo>
                <a:lnTo>
                  <a:pt x="5957811" y="56133"/>
                </a:lnTo>
                <a:lnTo>
                  <a:pt x="5957811" y="56997"/>
                </a:lnTo>
                <a:lnTo>
                  <a:pt x="5962277" y="78884"/>
                </a:lnTo>
                <a:lnTo>
                  <a:pt x="5974435" y="96723"/>
                </a:lnTo>
                <a:lnTo>
                  <a:pt x="5992422" y="108732"/>
                </a:lnTo>
                <a:lnTo>
                  <a:pt x="6014377" y="113131"/>
                </a:lnTo>
                <a:lnTo>
                  <a:pt x="6036331" y="108732"/>
                </a:lnTo>
                <a:lnTo>
                  <a:pt x="6054318" y="96723"/>
                </a:lnTo>
                <a:lnTo>
                  <a:pt x="6066476" y="78884"/>
                </a:lnTo>
                <a:lnTo>
                  <a:pt x="6070942" y="56997"/>
                </a:lnTo>
                <a:lnTo>
                  <a:pt x="6070942" y="56133"/>
                </a:lnTo>
                <a:lnTo>
                  <a:pt x="6066294" y="34247"/>
                </a:lnTo>
                <a:lnTo>
                  <a:pt x="6053832" y="16408"/>
                </a:lnTo>
                <a:lnTo>
                  <a:pt x="6035784" y="4398"/>
                </a:lnTo>
                <a:lnTo>
                  <a:pt x="6014377" y="0"/>
                </a:lnTo>
                <a:close/>
              </a:path>
              <a:path w="8402320" h="113664">
                <a:moveTo>
                  <a:pt x="6273419" y="0"/>
                </a:moveTo>
                <a:lnTo>
                  <a:pt x="6251829" y="4398"/>
                </a:lnTo>
                <a:lnTo>
                  <a:pt x="6233801" y="16408"/>
                </a:lnTo>
                <a:lnTo>
                  <a:pt x="6221441" y="34247"/>
                </a:lnTo>
                <a:lnTo>
                  <a:pt x="6216853" y="56133"/>
                </a:lnTo>
                <a:lnTo>
                  <a:pt x="6216853" y="56997"/>
                </a:lnTo>
                <a:lnTo>
                  <a:pt x="6221319" y="78884"/>
                </a:lnTo>
                <a:lnTo>
                  <a:pt x="6233477" y="96723"/>
                </a:lnTo>
                <a:lnTo>
                  <a:pt x="6251464" y="108732"/>
                </a:lnTo>
                <a:lnTo>
                  <a:pt x="6273419" y="113131"/>
                </a:lnTo>
                <a:lnTo>
                  <a:pt x="6295373" y="108732"/>
                </a:lnTo>
                <a:lnTo>
                  <a:pt x="6313360" y="96723"/>
                </a:lnTo>
                <a:lnTo>
                  <a:pt x="6325518" y="78884"/>
                </a:lnTo>
                <a:lnTo>
                  <a:pt x="6329984" y="56997"/>
                </a:lnTo>
                <a:lnTo>
                  <a:pt x="6329984" y="56133"/>
                </a:lnTo>
                <a:lnTo>
                  <a:pt x="6325336" y="34247"/>
                </a:lnTo>
                <a:lnTo>
                  <a:pt x="6312874" y="16408"/>
                </a:lnTo>
                <a:lnTo>
                  <a:pt x="6294826" y="4398"/>
                </a:lnTo>
                <a:lnTo>
                  <a:pt x="6273419" y="0"/>
                </a:lnTo>
                <a:close/>
              </a:path>
              <a:path w="8402320" h="113664">
                <a:moveTo>
                  <a:pt x="6532448" y="0"/>
                </a:moveTo>
                <a:lnTo>
                  <a:pt x="6510858" y="4398"/>
                </a:lnTo>
                <a:lnTo>
                  <a:pt x="6492830" y="16408"/>
                </a:lnTo>
                <a:lnTo>
                  <a:pt x="6480470" y="34247"/>
                </a:lnTo>
                <a:lnTo>
                  <a:pt x="6475882" y="56133"/>
                </a:lnTo>
                <a:lnTo>
                  <a:pt x="6475882" y="56997"/>
                </a:lnTo>
                <a:lnTo>
                  <a:pt x="6480348" y="78884"/>
                </a:lnTo>
                <a:lnTo>
                  <a:pt x="6492506" y="96723"/>
                </a:lnTo>
                <a:lnTo>
                  <a:pt x="6510493" y="108732"/>
                </a:lnTo>
                <a:lnTo>
                  <a:pt x="6532448" y="113131"/>
                </a:lnTo>
                <a:lnTo>
                  <a:pt x="6554402" y="108732"/>
                </a:lnTo>
                <a:lnTo>
                  <a:pt x="6572389" y="96723"/>
                </a:lnTo>
                <a:lnTo>
                  <a:pt x="6584547" y="78884"/>
                </a:lnTo>
                <a:lnTo>
                  <a:pt x="6589013" y="56997"/>
                </a:lnTo>
                <a:lnTo>
                  <a:pt x="6589013" y="56133"/>
                </a:lnTo>
                <a:lnTo>
                  <a:pt x="6584365" y="34247"/>
                </a:lnTo>
                <a:lnTo>
                  <a:pt x="6571903" y="16408"/>
                </a:lnTo>
                <a:lnTo>
                  <a:pt x="6553856" y="4398"/>
                </a:lnTo>
                <a:lnTo>
                  <a:pt x="6532448" y="0"/>
                </a:lnTo>
                <a:close/>
              </a:path>
              <a:path w="8402320" h="113664">
                <a:moveTo>
                  <a:pt x="6791490" y="0"/>
                </a:moveTo>
                <a:lnTo>
                  <a:pt x="6769900" y="4398"/>
                </a:lnTo>
                <a:lnTo>
                  <a:pt x="6751872" y="16408"/>
                </a:lnTo>
                <a:lnTo>
                  <a:pt x="6739512" y="34247"/>
                </a:lnTo>
                <a:lnTo>
                  <a:pt x="6734924" y="56133"/>
                </a:lnTo>
                <a:lnTo>
                  <a:pt x="6734924" y="56997"/>
                </a:lnTo>
                <a:lnTo>
                  <a:pt x="6739390" y="78884"/>
                </a:lnTo>
                <a:lnTo>
                  <a:pt x="6751548" y="96723"/>
                </a:lnTo>
                <a:lnTo>
                  <a:pt x="6769535" y="108732"/>
                </a:lnTo>
                <a:lnTo>
                  <a:pt x="6791490" y="113131"/>
                </a:lnTo>
                <a:lnTo>
                  <a:pt x="6813444" y="108732"/>
                </a:lnTo>
                <a:lnTo>
                  <a:pt x="6831431" y="96723"/>
                </a:lnTo>
                <a:lnTo>
                  <a:pt x="6843589" y="78884"/>
                </a:lnTo>
                <a:lnTo>
                  <a:pt x="6848055" y="56997"/>
                </a:lnTo>
                <a:lnTo>
                  <a:pt x="6848055" y="56133"/>
                </a:lnTo>
                <a:lnTo>
                  <a:pt x="6843407" y="34247"/>
                </a:lnTo>
                <a:lnTo>
                  <a:pt x="6830945" y="16408"/>
                </a:lnTo>
                <a:lnTo>
                  <a:pt x="6812897" y="4398"/>
                </a:lnTo>
                <a:lnTo>
                  <a:pt x="6791490" y="0"/>
                </a:lnTo>
                <a:close/>
              </a:path>
              <a:path w="8402320" h="113664">
                <a:moveTo>
                  <a:pt x="7050519" y="0"/>
                </a:moveTo>
                <a:lnTo>
                  <a:pt x="7028929" y="4398"/>
                </a:lnTo>
                <a:lnTo>
                  <a:pt x="7010901" y="16408"/>
                </a:lnTo>
                <a:lnTo>
                  <a:pt x="6998541" y="34247"/>
                </a:lnTo>
                <a:lnTo>
                  <a:pt x="6993953" y="56133"/>
                </a:lnTo>
                <a:lnTo>
                  <a:pt x="6993953" y="56997"/>
                </a:lnTo>
                <a:lnTo>
                  <a:pt x="6998419" y="78884"/>
                </a:lnTo>
                <a:lnTo>
                  <a:pt x="7010577" y="96723"/>
                </a:lnTo>
                <a:lnTo>
                  <a:pt x="7028564" y="108732"/>
                </a:lnTo>
                <a:lnTo>
                  <a:pt x="7050519" y="113131"/>
                </a:lnTo>
                <a:lnTo>
                  <a:pt x="7072473" y="108732"/>
                </a:lnTo>
                <a:lnTo>
                  <a:pt x="7090460" y="96723"/>
                </a:lnTo>
                <a:lnTo>
                  <a:pt x="7102618" y="78884"/>
                </a:lnTo>
                <a:lnTo>
                  <a:pt x="7107085" y="56997"/>
                </a:lnTo>
                <a:lnTo>
                  <a:pt x="7107085" y="56133"/>
                </a:lnTo>
                <a:lnTo>
                  <a:pt x="7102436" y="34247"/>
                </a:lnTo>
                <a:lnTo>
                  <a:pt x="7089975" y="16408"/>
                </a:lnTo>
                <a:lnTo>
                  <a:pt x="7071927" y="4398"/>
                </a:lnTo>
                <a:lnTo>
                  <a:pt x="7050519" y="0"/>
                </a:lnTo>
                <a:close/>
              </a:path>
              <a:path w="8402320" h="113664">
                <a:moveTo>
                  <a:pt x="7309561" y="0"/>
                </a:moveTo>
                <a:lnTo>
                  <a:pt x="7287971" y="4398"/>
                </a:lnTo>
                <a:lnTo>
                  <a:pt x="7269943" y="16408"/>
                </a:lnTo>
                <a:lnTo>
                  <a:pt x="7257583" y="34247"/>
                </a:lnTo>
                <a:lnTo>
                  <a:pt x="7252995" y="56133"/>
                </a:lnTo>
                <a:lnTo>
                  <a:pt x="7252995" y="56997"/>
                </a:lnTo>
                <a:lnTo>
                  <a:pt x="7257461" y="78884"/>
                </a:lnTo>
                <a:lnTo>
                  <a:pt x="7269619" y="96723"/>
                </a:lnTo>
                <a:lnTo>
                  <a:pt x="7287606" y="108732"/>
                </a:lnTo>
                <a:lnTo>
                  <a:pt x="7309561" y="113131"/>
                </a:lnTo>
                <a:lnTo>
                  <a:pt x="7331515" y="108732"/>
                </a:lnTo>
                <a:lnTo>
                  <a:pt x="7349502" y="96723"/>
                </a:lnTo>
                <a:lnTo>
                  <a:pt x="7361660" y="78884"/>
                </a:lnTo>
                <a:lnTo>
                  <a:pt x="7366127" y="56997"/>
                </a:lnTo>
                <a:lnTo>
                  <a:pt x="7366127" y="56133"/>
                </a:lnTo>
                <a:lnTo>
                  <a:pt x="7361478" y="34247"/>
                </a:lnTo>
                <a:lnTo>
                  <a:pt x="7349016" y="16408"/>
                </a:lnTo>
                <a:lnTo>
                  <a:pt x="7330969" y="4398"/>
                </a:lnTo>
                <a:lnTo>
                  <a:pt x="7309561" y="0"/>
                </a:lnTo>
                <a:close/>
              </a:path>
              <a:path w="8402320" h="113664">
                <a:moveTo>
                  <a:pt x="7568590" y="0"/>
                </a:moveTo>
                <a:lnTo>
                  <a:pt x="7547000" y="4398"/>
                </a:lnTo>
                <a:lnTo>
                  <a:pt x="7528972" y="16408"/>
                </a:lnTo>
                <a:lnTo>
                  <a:pt x="7516612" y="34247"/>
                </a:lnTo>
                <a:lnTo>
                  <a:pt x="7512024" y="56133"/>
                </a:lnTo>
                <a:lnTo>
                  <a:pt x="7512024" y="56997"/>
                </a:lnTo>
                <a:lnTo>
                  <a:pt x="7516491" y="78884"/>
                </a:lnTo>
                <a:lnTo>
                  <a:pt x="7528648" y="96723"/>
                </a:lnTo>
                <a:lnTo>
                  <a:pt x="7546636" y="108732"/>
                </a:lnTo>
                <a:lnTo>
                  <a:pt x="7568590" y="113131"/>
                </a:lnTo>
                <a:lnTo>
                  <a:pt x="7590544" y="108732"/>
                </a:lnTo>
                <a:lnTo>
                  <a:pt x="7608531" y="96723"/>
                </a:lnTo>
                <a:lnTo>
                  <a:pt x="7620689" y="78884"/>
                </a:lnTo>
                <a:lnTo>
                  <a:pt x="7625156" y="56997"/>
                </a:lnTo>
                <a:lnTo>
                  <a:pt x="7625156" y="56133"/>
                </a:lnTo>
                <a:lnTo>
                  <a:pt x="7620507" y="34247"/>
                </a:lnTo>
                <a:lnTo>
                  <a:pt x="7608046" y="16408"/>
                </a:lnTo>
                <a:lnTo>
                  <a:pt x="7589998" y="4398"/>
                </a:lnTo>
                <a:lnTo>
                  <a:pt x="7568590" y="0"/>
                </a:lnTo>
                <a:close/>
              </a:path>
              <a:path w="8402320" h="113664">
                <a:moveTo>
                  <a:pt x="7827632" y="0"/>
                </a:moveTo>
                <a:lnTo>
                  <a:pt x="7806042" y="4398"/>
                </a:lnTo>
                <a:lnTo>
                  <a:pt x="7788014" y="16408"/>
                </a:lnTo>
                <a:lnTo>
                  <a:pt x="7775654" y="34247"/>
                </a:lnTo>
                <a:lnTo>
                  <a:pt x="7771066" y="56133"/>
                </a:lnTo>
                <a:lnTo>
                  <a:pt x="7771066" y="56997"/>
                </a:lnTo>
                <a:lnTo>
                  <a:pt x="7775532" y="78884"/>
                </a:lnTo>
                <a:lnTo>
                  <a:pt x="7787690" y="96723"/>
                </a:lnTo>
                <a:lnTo>
                  <a:pt x="7805677" y="108732"/>
                </a:lnTo>
                <a:lnTo>
                  <a:pt x="7827632" y="113131"/>
                </a:lnTo>
                <a:lnTo>
                  <a:pt x="7849586" y="108732"/>
                </a:lnTo>
                <a:lnTo>
                  <a:pt x="7867573" y="96723"/>
                </a:lnTo>
                <a:lnTo>
                  <a:pt x="7879731" y="78884"/>
                </a:lnTo>
                <a:lnTo>
                  <a:pt x="7884198" y="56997"/>
                </a:lnTo>
                <a:lnTo>
                  <a:pt x="7884198" y="56133"/>
                </a:lnTo>
                <a:lnTo>
                  <a:pt x="7879549" y="34247"/>
                </a:lnTo>
                <a:lnTo>
                  <a:pt x="7867088" y="16408"/>
                </a:lnTo>
                <a:lnTo>
                  <a:pt x="7849040" y="4398"/>
                </a:lnTo>
                <a:lnTo>
                  <a:pt x="7827632" y="0"/>
                </a:lnTo>
                <a:close/>
              </a:path>
              <a:path w="8402320" h="113664">
                <a:moveTo>
                  <a:pt x="8086661" y="0"/>
                </a:moveTo>
                <a:lnTo>
                  <a:pt x="8065071" y="4398"/>
                </a:lnTo>
                <a:lnTo>
                  <a:pt x="8047043" y="16408"/>
                </a:lnTo>
                <a:lnTo>
                  <a:pt x="8034683" y="34247"/>
                </a:lnTo>
                <a:lnTo>
                  <a:pt x="8030095" y="56133"/>
                </a:lnTo>
                <a:lnTo>
                  <a:pt x="8030095" y="56997"/>
                </a:lnTo>
                <a:lnTo>
                  <a:pt x="8034562" y="78884"/>
                </a:lnTo>
                <a:lnTo>
                  <a:pt x="8046719" y="96723"/>
                </a:lnTo>
                <a:lnTo>
                  <a:pt x="8064707" y="108732"/>
                </a:lnTo>
                <a:lnTo>
                  <a:pt x="8086661" y="113131"/>
                </a:lnTo>
                <a:lnTo>
                  <a:pt x="8108615" y="108732"/>
                </a:lnTo>
                <a:lnTo>
                  <a:pt x="8126603" y="96723"/>
                </a:lnTo>
                <a:lnTo>
                  <a:pt x="8138760" y="78884"/>
                </a:lnTo>
                <a:lnTo>
                  <a:pt x="8143227" y="56997"/>
                </a:lnTo>
                <a:lnTo>
                  <a:pt x="8143227" y="56133"/>
                </a:lnTo>
                <a:lnTo>
                  <a:pt x="8138578" y="34247"/>
                </a:lnTo>
                <a:lnTo>
                  <a:pt x="8126117" y="16408"/>
                </a:lnTo>
                <a:lnTo>
                  <a:pt x="8108069" y="4398"/>
                </a:lnTo>
                <a:lnTo>
                  <a:pt x="8086661" y="0"/>
                </a:lnTo>
                <a:close/>
              </a:path>
              <a:path w="8402320" h="113664">
                <a:moveTo>
                  <a:pt x="8345703" y="0"/>
                </a:moveTo>
                <a:lnTo>
                  <a:pt x="8324113" y="4398"/>
                </a:lnTo>
                <a:lnTo>
                  <a:pt x="8306085" y="16408"/>
                </a:lnTo>
                <a:lnTo>
                  <a:pt x="8293725" y="34247"/>
                </a:lnTo>
                <a:lnTo>
                  <a:pt x="8289137" y="56133"/>
                </a:lnTo>
                <a:lnTo>
                  <a:pt x="8289137" y="56997"/>
                </a:lnTo>
                <a:lnTo>
                  <a:pt x="8293604" y="78884"/>
                </a:lnTo>
                <a:lnTo>
                  <a:pt x="8305761" y="96723"/>
                </a:lnTo>
                <a:lnTo>
                  <a:pt x="8323749" y="108732"/>
                </a:lnTo>
                <a:lnTo>
                  <a:pt x="8345703" y="113131"/>
                </a:lnTo>
                <a:lnTo>
                  <a:pt x="8367657" y="108732"/>
                </a:lnTo>
                <a:lnTo>
                  <a:pt x="8385644" y="96723"/>
                </a:lnTo>
                <a:lnTo>
                  <a:pt x="8397802" y="78884"/>
                </a:lnTo>
                <a:lnTo>
                  <a:pt x="8402269" y="56997"/>
                </a:lnTo>
                <a:lnTo>
                  <a:pt x="8402269" y="56133"/>
                </a:lnTo>
                <a:lnTo>
                  <a:pt x="8397620" y="34247"/>
                </a:lnTo>
                <a:lnTo>
                  <a:pt x="8385159" y="16408"/>
                </a:lnTo>
                <a:lnTo>
                  <a:pt x="8367111" y="4398"/>
                </a:lnTo>
                <a:lnTo>
                  <a:pt x="8345703" y="0"/>
                </a:lnTo>
                <a:close/>
              </a:path>
            </a:pathLst>
          </a:custGeom>
          <a:solidFill>
            <a:srgbClr val="E2E3E4"/>
          </a:solidFill>
        </p:spPr>
        <p:txBody>
          <a:bodyPr wrap="square" lIns="0" tIns="0" rIns="0" bIns="0" rtlCol="0"/>
          <a:lstStyle/>
          <a:p>
            <a:endParaRPr sz="1800"/>
          </a:p>
        </p:txBody>
      </p:sp>
      <p:sp>
        <p:nvSpPr>
          <p:cNvPr id="14" name="object 3"/>
          <p:cNvSpPr/>
          <p:nvPr userDrawn="1"/>
        </p:nvSpPr>
        <p:spPr>
          <a:xfrm>
            <a:off x="494490" y="6143980"/>
            <a:ext cx="11203093" cy="113664"/>
          </a:xfrm>
          <a:custGeom>
            <a:avLst/>
            <a:gdLst/>
            <a:ahLst/>
            <a:cxnLst/>
            <a:rect l="l" t="t" r="r" b="b"/>
            <a:pathLst>
              <a:path w="8402320" h="113664">
                <a:moveTo>
                  <a:pt x="56565" y="0"/>
                </a:moveTo>
                <a:lnTo>
                  <a:pt x="34975" y="4398"/>
                </a:lnTo>
                <a:lnTo>
                  <a:pt x="16948" y="16408"/>
                </a:lnTo>
                <a:lnTo>
                  <a:pt x="4587" y="34247"/>
                </a:lnTo>
                <a:lnTo>
                  <a:pt x="0" y="56133"/>
                </a:lnTo>
                <a:lnTo>
                  <a:pt x="0" y="56997"/>
                </a:lnTo>
                <a:lnTo>
                  <a:pt x="4466" y="78884"/>
                </a:lnTo>
                <a:lnTo>
                  <a:pt x="16624" y="96723"/>
                </a:lnTo>
                <a:lnTo>
                  <a:pt x="34611" y="108732"/>
                </a:lnTo>
                <a:lnTo>
                  <a:pt x="56565" y="113131"/>
                </a:lnTo>
                <a:lnTo>
                  <a:pt x="78520" y="108732"/>
                </a:lnTo>
                <a:lnTo>
                  <a:pt x="96507" y="96723"/>
                </a:lnTo>
                <a:lnTo>
                  <a:pt x="108665" y="78884"/>
                </a:lnTo>
                <a:lnTo>
                  <a:pt x="113131" y="56997"/>
                </a:lnTo>
                <a:lnTo>
                  <a:pt x="113131" y="56133"/>
                </a:lnTo>
                <a:lnTo>
                  <a:pt x="108483" y="34247"/>
                </a:lnTo>
                <a:lnTo>
                  <a:pt x="96021" y="16408"/>
                </a:lnTo>
                <a:lnTo>
                  <a:pt x="77973" y="4398"/>
                </a:lnTo>
                <a:lnTo>
                  <a:pt x="56565" y="0"/>
                </a:lnTo>
                <a:close/>
              </a:path>
              <a:path w="8402320" h="113664">
                <a:moveTo>
                  <a:pt x="315595" y="0"/>
                </a:moveTo>
                <a:lnTo>
                  <a:pt x="294005" y="4398"/>
                </a:lnTo>
                <a:lnTo>
                  <a:pt x="275977" y="16408"/>
                </a:lnTo>
                <a:lnTo>
                  <a:pt x="263617" y="34247"/>
                </a:lnTo>
                <a:lnTo>
                  <a:pt x="259029" y="56133"/>
                </a:lnTo>
                <a:lnTo>
                  <a:pt x="259029" y="56997"/>
                </a:lnTo>
                <a:lnTo>
                  <a:pt x="263495" y="78884"/>
                </a:lnTo>
                <a:lnTo>
                  <a:pt x="275653" y="96723"/>
                </a:lnTo>
                <a:lnTo>
                  <a:pt x="293640" y="108732"/>
                </a:lnTo>
                <a:lnTo>
                  <a:pt x="315595" y="113131"/>
                </a:lnTo>
                <a:lnTo>
                  <a:pt x="337549" y="108732"/>
                </a:lnTo>
                <a:lnTo>
                  <a:pt x="355536" y="96723"/>
                </a:lnTo>
                <a:lnTo>
                  <a:pt x="367694" y="78884"/>
                </a:lnTo>
                <a:lnTo>
                  <a:pt x="372160" y="56997"/>
                </a:lnTo>
                <a:lnTo>
                  <a:pt x="372160" y="56133"/>
                </a:lnTo>
                <a:lnTo>
                  <a:pt x="367512" y="34247"/>
                </a:lnTo>
                <a:lnTo>
                  <a:pt x="355050" y="16408"/>
                </a:lnTo>
                <a:lnTo>
                  <a:pt x="337002" y="4398"/>
                </a:lnTo>
                <a:lnTo>
                  <a:pt x="315595" y="0"/>
                </a:lnTo>
                <a:close/>
              </a:path>
              <a:path w="8402320" h="113664">
                <a:moveTo>
                  <a:pt x="574636" y="0"/>
                </a:moveTo>
                <a:lnTo>
                  <a:pt x="553046" y="4398"/>
                </a:lnTo>
                <a:lnTo>
                  <a:pt x="535019" y="16408"/>
                </a:lnTo>
                <a:lnTo>
                  <a:pt x="522658" y="34247"/>
                </a:lnTo>
                <a:lnTo>
                  <a:pt x="518071" y="56133"/>
                </a:lnTo>
                <a:lnTo>
                  <a:pt x="518071" y="56997"/>
                </a:lnTo>
                <a:lnTo>
                  <a:pt x="522537" y="78884"/>
                </a:lnTo>
                <a:lnTo>
                  <a:pt x="534695" y="96723"/>
                </a:lnTo>
                <a:lnTo>
                  <a:pt x="552682" y="108732"/>
                </a:lnTo>
                <a:lnTo>
                  <a:pt x="574636" y="113131"/>
                </a:lnTo>
                <a:lnTo>
                  <a:pt x="596591" y="108732"/>
                </a:lnTo>
                <a:lnTo>
                  <a:pt x="614578" y="96723"/>
                </a:lnTo>
                <a:lnTo>
                  <a:pt x="626736" y="78884"/>
                </a:lnTo>
                <a:lnTo>
                  <a:pt x="631202" y="56997"/>
                </a:lnTo>
                <a:lnTo>
                  <a:pt x="631202" y="56133"/>
                </a:lnTo>
                <a:lnTo>
                  <a:pt x="626554" y="34247"/>
                </a:lnTo>
                <a:lnTo>
                  <a:pt x="614092" y="16408"/>
                </a:lnTo>
                <a:lnTo>
                  <a:pt x="596044" y="4398"/>
                </a:lnTo>
                <a:lnTo>
                  <a:pt x="574636" y="0"/>
                </a:lnTo>
                <a:close/>
              </a:path>
              <a:path w="8402320" h="113664">
                <a:moveTo>
                  <a:pt x="833666" y="0"/>
                </a:moveTo>
                <a:lnTo>
                  <a:pt x="812076" y="4398"/>
                </a:lnTo>
                <a:lnTo>
                  <a:pt x="794048" y="16408"/>
                </a:lnTo>
                <a:lnTo>
                  <a:pt x="781688" y="34247"/>
                </a:lnTo>
                <a:lnTo>
                  <a:pt x="777100" y="56133"/>
                </a:lnTo>
                <a:lnTo>
                  <a:pt x="777100" y="56997"/>
                </a:lnTo>
                <a:lnTo>
                  <a:pt x="781566" y="78884"/>
                </a:lnTo>
                <a:lnTo>
                  <a:pt x="793724" y="96723"/>
                </a:lnTo>
                <a:lnTo>
                  <a:pt x="811711" y="108732"/>
                </a:lnTo>
                <a:lnTo>
                  <a:pt x="833666" y="113131"/>
                </a:lnTo>
                <a:lnTo>
                  <a:pt x="855620" y="108732"/>
                </a:lnTo>
                <a:lnTo>
                  <a:pt x="873607" y="96723"/>
                </a:lnTo>
                <a:lnTo>
                  <a:pt x="885765" y="78884"/>
                </a:lnTo>
                <a:lnTo>
                  <a:pt x="890231" y="56997"/>
                </a:lnTo>
                <a:lnTo>
                  <a:pt x="890231" y="56133"/>
                </a:lnTo>
                <a:lnTo>
                  <a:pt x="885583" y="34247"/>
                </a:lnTo>
                <a:lnTo>
                  <a:pt x="873121" y="16408"/>
                </a:lnTo>
                <a:lnTo>
                  <a:pt x="855073" y="4398"/>
                </a:lnTo>
                <a:lnTo>
                  <a:pt x="833666" y="0"/>
                </a:lnTo>
                <a:close/>
              </a:path>
              <a:path w="8402320" h="113664">
                <a:moveTo>
                  <a:pt x="1092708" y="0"/>
                </a:moveTo>
                <a:lnTo>
                  <a:pt x="1071118" y="4398"/>
                </a:lnTo>
                <a:lnTo>
                  <a:pt x="1053090" y="16408"/>
                </a:lnTo>
                <a:lnTo>
                  <a:pt x="1040730" y="34247"/>
                </a:lnTo>
                <a:lnTo>
                  <a:pt x="1036142" y="56133"/>
                </a:lnTo>
                <a:lnTo>
                  <a:pt x="1036142" y="56997"/>
                </a:lnTo>
                <a:lnTo>
                  <a:pt x="1040608" y="78884"/>
                </a:lnTo>
                <a:lnTo>
                  <a:pt x="1052766" y="96723"/>
                </a:lnTo>
                <a:lnTo>
                  <a:pt x="1070753" y="108732"/>
                </a:lnTo>
                <a:lnTo>
                  <a:pt x="1092708" y="113131"/>
                </a:lnTo>
                <a:lnTo>
                  <a:pt x="1114662" y="108732"/>
                </a:lnTo>
                <a:lnTo>
                  <a:pt x="1132649" y="96723"/>
                </a:lnTo>
                <a:lnTo>
                  <a:pt x="1144807" y="78884"/>
                </a:lnTo>
                <a:lnTo>
                  <a:pt x="1149273" y="56997"/>
                </a:lnTo>
                <a:lnTo>
                  <a:pt x="1149273" y="56133"/>
                </a:lnTo>
                <a:lnTo>
                  <a:pt x="1144625" y="34247"/>
                </a:lnTo>
                <a:lnTo>
                  <a:pt x="1132163" y="16408"/>
                </a:lnTo>
                <a:lnTo>
                  <a:pt x="1114115" y="4398"/>
                </a:lnTo>
                <a:lnTo>
                  <a:pt x="1092708" y="0"/>
                </a:lnTo>
                <a:close/>
              </a:path>
              <a:path w="8402320" h="113664">
                <a:moveTo>
                  <a:pt x="1351737" y="0"/>
                </a:moveTo>
                <a:lnTo>
                  <a:pt x="1330147" y="4398"/>
                </a:lnTo>
                <a:lnTo>
                  <a:pt x="1312119" y="16408"/>
                </a:lnTo>
                <a:lnTo>
                  <a:pt x="1299759" y="34247"/>
                </a:lnTo>
                <a:lnTo>
                  <a:pt x="1295171" y="56133"/>
                </a:lnTo>
                <a:lnTo>
                  <a:pt x="1295171" y="56997"/>
                </a:lnTo>
                <a:lnTo>
                  <a:pt x="1299637" y="78884"/>
                </a:lnTo>
                <a:lnTo>
                  <a:pt x="1311795" y="96723"/>
                </a:lnTo>
                <a:lnTo>
                  <a:pt x="1329782" y="108732"/>
                </a:lnTo>
                <a:lnTo>
                  <a:pt x="1351737" y="113131"/>
                </a:lnTo>
                <a:lnTo>
                  <a:pt x="1373691" y="108732"/>
                </a:lnTo>
                <a:lnTo>
                  <a:pt x="1391678" y="96723"/>
                </a:lnTo>
                <a:lnTo>
                  <a:pt x="1403836" y="78884"/>
                </a:lnTo>
                <a:lnTo>
                  <a:pt x="1408303" y="56997"/>
                </a:lnTo>
                <a:lnTo>
                  <a:pt x="1408303" y="56133"/>
                </a:lnTo>
                <a:lnTo>
                  <a:pt x="1403654" y="34247"/>
                </a:lnTo>
                <a:lnTo>
                  <a:pt x="1391192" y="16408"/>
                </a:lnTo>
                <a:lnTo>
                  <a:pt x="1373145" y="4398"/>
                </a:lnTo>
                <a:lnTo>
                  <a:pt x="1351737" y="0"/>
                </a:lnTo>
                <a:close/>
              </a:path>
              <a:path w="8402320" h="113664">
                <a:moveTo>
                  <a:pt x="1610779" y="0"/>
                </a:moveTo>
                <a:lnTo>
                  <a:pt x="1589189" y="4398"/>
                </a:lnTo>
                <a:lnTo>
                  <a:pt x="1571161" y="16408"/>
                </a:lnTo>
                <a:lnTo>
                  <a:pt x="1558801" y="34247"/>
                </a:lnTo>
                <a:lnTo>
                  <a:pt x="1554213" y="56133"/>
                </a:lnTo>
                <a:lnTo>
                  <a:pt x="1554213" y="56997"/>
                </a:lnTo>
                <a:lnTo>
                  <a:pt x="1558679" y="78884"/>
                </a:lnTo>
                <a:lnTo>
                  <a:pt x="1570837" y="96723"/>
                </a:lnTo>
                <a:lnTo>
                  <a:pt x="1588824" y="108732"/>
                </a:lnTo>
                <a:lnTo>
                  <a:pt x="1610779" y="113131"/>
                </a:lnTo>
                <a:lnTo>
                  <a:pt x="1632733" y="108732"/>
                </a:lnTo>
                <a:lnTo>
                  <a:pt x="1650720" y="96723"/>
                </a:lnTo>
                <a:lnTo>
                  <a:pt x="1662878" y="78884"/>
                </a:lnTo>
                <a:lnTo>
                  <a:pt x="1667344" y="56997"/>
                </a:lnTo>
                <a:lnTo>
                  <a:pt x="1667344" y="56133"/>
                </a:lnTo>
                <a:lnTo>
                  <a:pt x="1662696" y="34247"/>
                </a:lnTo>
                <a:lnTo>
                  <a:pt x="1650234" y="16408"/>
                </a:lnTo>
                <a:lnTo>
                  <a:pt x="1632186" y="4398"/>
                </a:lnTo>
                <a:lnTo>
                  <a:pt x="1610779" y="0"/>
                </a:lnTo>
                <a:close/>
              </a:path>
              <a:path w="8402320" h="113664">
                <a:moveTo>
                  <a:pt x="1869808" y="0"/>
                </a:moveTo>
                <a:lnTo>
                  <a:pt x="1848218" y="4398"/>
                </a:lnTo>
                <a:lnTo>
                  <a:pt x="1830190" y="16408"/>
                </a:lnTo>
                <a:lnTo>
                  <a:pt x="1817830" y="34247"/>
                </a:lnTo>
                <a:lnTo>
                  <a:pt x="1813242" y="56133"/>
                </a:lnTo>
                <a:lnTo>
                  <a:pt x="1813242" y="56997"/>
                </a:lnTo>
                <a:lnTo>
                  <a:pt x="1817708" y="78884"/>
                </a:lnTo>
                <a:lnTo>
                  <a:pt x="1829866" y="96723"/>
                </a:lnTo>
                <a:lnTo>
                  <a:pt x="1847853" y="108732"/>
                </a:lnTo>
                <a:lnTo>
                  <a:pt x="1869808" y="113131"/>
                </a:lnTo>
                <a:lnTo>
                  <a:pt x="1891762" y="108732"/>
                </a:lnTo>
                <a:lnTo>
                  <a:pt x="1909749" y="96723"/>
                </a:lnTo>
                <a:lnTo>
                  <a:pt x="1921907" y="78884"/>
                </a:lnTo>
                <a:lnTo>
                  <a:pt x="1926374" y="56997"/>
                </a:lnTo>
                <a:lnTo>
                  <a:pt x="1926374" y="56133"/>
                </a:lnTo>
                <a:lnTo>
                  <a:pt x="1921725" y="34247"/>
                </a:lnTo>
                <a:lnTo>
                  <a:pt x="1909264" y="16408"/>
                </a:lnTo>
                <a:lnTo>
                  <a:pt x="1891216" y="4398"/>
                </a:lnTo>
                <a:lnTo>
                  <a:pt x="1869808" y="0"/>
                </a:lnTo>
                <a:close/>
              </a:path>
              <a:path w="8402320" h="113664">
                <a:moveTo>
                  <a:pt x="2128850" y="0"/>
                </a:moveTo>
                <a:lnTo>
                  <a:pt x="2107260" y="4398"/>
                </a:lnTo>
                <a:lnTo>
                  <a:pt x="2089232" y="16408"/>
                </a:lnTo>
                <a:lnTo>
                  <a:pt x="2076872" y="34247"/>
                </a:lnTo>
                <a:lnTo>
                  <a:pt x="2072284" y="56133"/>
                </a:lnTo>
                <a:lnTo>
                  <a:pt x="2072284" y="56997"/>
                </a:lnTo>
                <a:lnTo>
                  <a:pt x="2076750" y="78884"/>
                </a:lnTo>
                <a:lnTo>
                  <a:pt x="2088908" y="96723"/>
                </a:lnTo>
                <a:lnTo>
                  <a:pt x="2106895" y="108732"/>
                </a:lnTo>
                <a:lnTo>
                  <a:pt x="2128850" y="113131"/>
                </a:lnTo>
                <a:lnTo>
                  <a:pt x="2150804" y="108732"/>
                </a:lnTo>
                <a:lnTo>
                  <a:pt x="2168791" y="96723"/>
                </a:lnTo>
                <a:lnTo>
                  <a:pt x="2180949" y="78884"/>
                </a:lnTo>
                <a:lnTo>
                  <a:pt x="2185416" y="56997"/>
                </a:lnTo>
                <a:lnTo>
                  <a:pt x="2185416" y="56133"/>
                </a:lnTo>
                <a:lnTo>
                  <a:pt x="2180767" y="34247"/>
                </a:lnTo>
                <a:lnTo>
                  <a:pt x="2168305" y="16408"/>
                </a:lnTo>
                <a:lnTo>
                  <a:pt x="2150258" y="4398"/>
                </a:lnTo>
                <a:lnTo>
                  <a:pt x="2128850" y="0"/>
                </a:lnTo>
                <a:close/>
              </a:path>
              <a:path w="8402320" h="113664">
                <a:moveTo>
                  <a:pt x="2387879" y="0"/>
                </a:moveTo>
                <a:lnTo>
                  <a:pt x="2366289" y="4398"/>
                </a:lnTo>
                <a:lnTo>
                  <a:pt x="2348261" y="16408"/>
                </a:lnTo>
                <a:lnTo>
                  <a:pt x="2335901" y="34247"/>
                </a:lnTo>
                <a:lnTo>
                  <a:pt x="2331313" y="56133"/>
                </a:lnTo>
                <a:lnTo>
                  <a:pt x="2331313" y="56997"/>
                </a:lnTo>
                <a:lnTo>
                  <a:pt x="2335780" y="78884"/>
                </a:lnTo>
                <a:lnTo>
                  <a:pt x="2347937" y="96723"/>
                </a:lnTo>
                <a:lnTo>
                  <a:pt x="2365925" y="108732"/>
                </a:lnTo>
                <a:lnTo>
                  <a:pt x="2387879" y="113131"/>
                </a:lnTo>
                <a:lnTo>
                  <a:pt x="2409833" y="108732"/>
                </a:lnTo>
                <a:lnTo>
                  <a:pt x="2427820" y="96723"/>
                </a:lnTo>
                <a:lnTo>
                  <a:pt x="2439978" y="78884"/>
                </a:lnTo>
                <a:lnTo>
                  <a:pt x="2444445" y="56997"/>
                </a:lnTo>
                <a:lnTo>
                  <a:pt x="2444445" y="56133"/>
                </a:lnTo>
                <a:lnTo>
                  <a:pt x="2439796" y="34247"/>
                </a:lnTo>
                <a:lnTo>
                  <a:pt x="2427335" y="16408"/>
                </a:lnTo>
                <a:lnTo>
                  <a:pt x="2409287" y="4398"/>
                </a:lnTo>
                <a:lnTo>
                  <a:pt x="2387879" y="0"/>
                </a:lnTo>
                <a:close/>
              </a:path>
              <a:path w="8402320" h="113664">
                <a:moveTo>
                  <a:pt x="2646921" y="0"/>
                </a:moveTo>
                <a:lnTo>
                  <a:pt x="2625331" y="4398"/>
                </a:lnTo>
                <a:lnTo>
                  <a:pt x="2607303" y="16408"/>
                </a:lnTo>
                <a:lnTo>
                  <a:pt x="2594943" y="34247"/>
                </a:lnTo>
                <a:lnTo>
                  <a:pt x="2590355" y="56133"/>
                </a:lnTo>
                <a:lnTo>
                  <a:pt x="2590355" y="56997"/>
                </a:lnTo>
                <a:lnTo>
                  <a:pt x="2594821" y="78884"/>
                </a:lnTo>
                <a:lnTo>
                  <a:pt x="2606979" y="96723"/>
                </a:lnTo>
                <a:lnTo>
                  <a:pt x="2624966" y="108732"/>
                </a:lnTo>
                <a:lnTo>
                  <a:pt x="2646921" y="113131"/>
                </a:lnTo>
                <a:lnTo>
                  <a:pt x="2668875" y="108732"/>
                </a:lnTo>
                <a:lnTo>
                  <a:pt x="2686862" y="96723"/>
                </a:lnTo>
                <a:lnTo>
                  <a:pt x="2699020" y="78884"/>
                </a:lnTo>
                <a:lnTo>
                  <a:pt x="2703487" y="56997"/>
                </a:lnTo>
                <a:lnTo>
                  <a:pt x="2703487" y="56133"/>
                </a:lnTo>
                <a:lnTo>
                  <a:pt x="2698838" y="34247"/>
                </a:lnTo>
                <a:lnTo>
                  <a:pt x="2686377" y="16408"/>
                </a:lnTo>
                <a:lnTo>
                  <a:pt x="2668329" y="4398"/>
                </a:lnTo>
                <a:lnTo>
                  <a:pt x="2646921" y="0"/>
                </a:lnTo>
                <a:close/>
              </a:path>
              <a:path w="8402320" h="113664">
                <a:moveTo>
                  <a:pt x="2905950" y="0"/>
                </a:moveTo>
                <a:lnTo>
                  <a:pt x="2884360" y="4398"/>
                </a:lnTo>
                <a:lnTo>
                  <a:pt x="2866332" y="16408"/>
                </a:lnTo>
                <a:lnTo>
                  <a:pt x="2853972" y="34247"/>
                </a:lnTo>
                <a:lnTo>
                  <a:pt x="2849384" y="56133"/>
                </a:lnTo>
                <a:lnTo>
                  <a:pt x="2849384" y="56997"/>
                </a:lnTo>
                <a:lnTo>
                  <a:pt x="2853851" y="78884"/>
                </a:lnTo>
                <a:lnTo>
                  <a:pt x="2866009" y="96723"/>
                </a:lnTo>
                <a:lnTo>
                  <a:pt x="2883996" y="108732"/>
                </a:lnTo>
                <a:lnTo>
                  <a:pt x="2905950" y="113131"/>
                </a:lnTo>
                <a:lnTo>
                  <a:pt x="2927904" y="108732"/>
                </a:lnTo>
                <a:lnTo>
                  <a:pt x="2945892" y="96723"/>
                </a:lnTo>
                <a:lnTo>
                  <a:pt x="2958049" y="78884"/>
                </a:lnTo>
                <a:lnTo>
                  <a:pt x="2962516" y="56997"/>
                </a:lnTo>
                <a:lnTo>
                  <a:pt x="2962516" y="56133"/>
                </a:lnTo>
                <a:lnTo>
                  <a:pt x="2957867" y="34247"/>
                </a:lnTo>
                <a:lnTo>
                  <a:pt x="2945406" y="16408"/>
                </a:lnTo>
                <a:lnTo>
                  <a:pt x="2927358" y="4398"/>
                </a:lnTo>
                <a:lnTo>
                  <a:pt x="2905950" y="0"/>
                </a:lnTo>
                <a:close/>
              </a:path>
              <a:path w="8402320" h="113664">
                <a:moveTo>
                  <a:pt x="3164992" y="0"/>
                </a:moveTo>
                <a:lnTo>
                  <a:pt x="3143402" y="4398"/>
                </a:lnTo>
                <a:lnTo>
                  <a:pt x="3125374" y="16408"/>
                </a:lnTo>
                <a:lnTo>
                  <a:pt x="3113014" y="34247"/>
                </a:lnTo>
                <a:lnTo>
                  <a:pt x="3108426" y="56133"/>
                </a:lnTo>
                <a:lnTo>
                  <a:pt x="3108426" y="56997"/>
                </a:lnTo>
                <a:lnTo>
                  <a:pt x="3112893" y="78884"/>
                </a:lnTo>
                <a:lnTo>
                  <a:pt x="3125050" y="96723"/>
                </a:lnTo>
                <a:lnTo>
                  <a:pt x="3143038" y="108732"/>
                </a:lnTo>
                <a:lnTo>
                  <a:pt x="3164992" y="113131"/>
                </a:lnTo>
                <a:lnTo>
                  <a:pt x="3186946" y="108732"/>
                </a:lnTo>
                <a:lnTo>
                  <a:pt x="3204933" y="96723"/>
                </a:lnTo>
                <a:lnTo>
                  <a:pt x="3217091" y="78884"/>
                </a:lnTo>
                <a:lnTo>
                  <a:pt x="3221558" y="56997"/>
                </a:lnTo>
                <a:lnTo>
                  <a:pt x="3221558" y="56133"/>
                </a:lnTo>
                <a:lnTo>
                  <a:pt x="3216909" y="34247"/>
                </a:lnTo>
                <a:lnTo>
                  <a:pt x="3204448" y="16408"/>
                </a:lnTo>
                <a:lnTo>
                  <a:pt x="3186400" y="4398"/>
                </a:lnTo>
                <a:lnTo>
                  <a:pt x="3164992" y="0"/>
                </a:lnTo>
                <a:close/>
              </a:path>
              <a:path w="8402320" h="113664">
                <a:moveTo>
                  <a:pt x="3424021" y="0"/>
                </a:moveTo>
                <a:lnTo>
                  <a:pt x="3402431" y="4398"/>
                </a:lnTo>
                <a:lnTo>
                  <a:pt x="3384403" y="16408"/>
                </a:lnTo>
                <a:lnTo>
                  <a:pt x="3372043" y="34247"/>
                </a:lnTo>
                <a:lnTo>
                  <a:pt x="3367455" y="56133"/>
                </a:lnTo>
                <a:lnTo>
                  <a:pt x="3367455" y="56997"/>
                </a:lnTo>
                <a:lnTo>
                  <a:pt x="3371922" y="78884"/>
                </a:lnTo>
                <a:lnTo>
                  <a:pt x="3384080" y="96723"/>
                </a:lnTo>
                <a:lnTo>
                  <a:pt x="3402067" y="108732"/>
                </a:lnTo>
                <a:lnTo>
                  <a:pt x="3424021" y="113131"/>
                </a:lnTo>
                <a:lnTo>
                  <a:pt x="3445975" y="108732"/>
                </a:lnTo>
                <a:lnTo>
                  <a:pt x="3463963" y="96723"/>
                </a:lnTo>
                <a:lnTo>
                  <a:pt x="3476120" y="78884"/>
                </a:lnTo>
                <a:lnTo>
                  <a:pt x="3480587" y="56997"/>
                </a:lnTo>
                <a:lnTo>
                  <a:pt x="3480587" y="56133"/>
                </a:lnTo>
                <a:lnTo>
                  <a:pt x="3475938" y="34247"/>
                </a:lnTo>
                <a:lnTo>
                  <a:pt x="3463477" y="16408"/>
                </a:lnTo>
                <a:lnTo>
                  <a:pt x="3445429" y="4398"/>
                </a:lnTo>
                <a:lnTo>
                  <a:pt x="3424021" y="0"/>
                </a:lnTo>
                <a:close/>
              </a:path>
              <a:path w="8402320" h="113664">
                <a:moveTo>
                  <a:pt x="3683063" y="0"/>
                </a:moveTo>
                <a:lnTo>
                  <a:pt x="3661473" y="4398"/>
                </a:lnTo>
                <a:lnTo>
                  <a:pt x="3643445" y="16408"/>
                </a:lnTo>
                <a:lnTo>
                  <a:pt x="3631085" y="34247"/>
                </a:lnTo>
                <a:lnTo>
                  <a:pt x="3626497" y="56133"/>
                </a:lnTo>
                <a:lnTo>
                  <a:pt x="3626497" y="56997"/>
                </a:lnTo>
                <a:lnTo>
                  <a:pt x="3630964" y="78884"/>
                </a:lnTo>
                <a:lnTo>
                  <a:pt x="3643122" y="96723"/>
                </a:lnTo>
                <a:lnTo>
                  <a:pt x="3661109" y="108732"/>
                </a:lnTo>
                <a:lnTo>
                  <a:pt x="3683063" y="113131"/>
                </a:lnTo>
                <a:lnTo>
                  <a:pt x="3705017" y="108732"/>
                </a:lnTo>
                <a:lnTo>
                  <a:pt x="3723005" y="96723"/>
                </a:lnTo>
                <a:lnTo>
                  <a:pt x="3735162" y="78884"/>
                </a:lnTo>
                <a:lnTo>
                  <a:pt x="3739629" y="56997"/>
                </a:lnTo>
                <a:lnTo>
                  <a:pt x="3739629" y="56133"/>
                </a:lnTo>
                <a:lnTo>
                  <a:pt x="3734980" y="34247"/>
                </a:lnTo>
                <a:lnTo>
                  <a:pt x="3722519" y="16408"/>
                </a:lnTo>
                <a:lnTo>
                  <a:pt x="3704471" y="4398"/>
                </a:lnTo>
                <a:lnTo>
                  <a:pt x="3683063" y="0"/>
                </a:lnTo>
                <a:close/>
              </a:path>
              <a:path w="8402320" h="113664">
                <a:moveTo>
                  <a:pt x="3942092" y="0"/>
                </a:moveTo>
                <a:lnTo>
                  <a:pt x="3920502" y="4398"/>
                </a:lnTo>
                <a:lnTo>
                  <a:pt x="3902475" y="16408"/>
                </a:lnTo>
                <a:lnTo>
                  <a:pt x="3890114" y="34247"/>
                </a:lnTo>
                <a:lnTo>
                  <a:pt x="3885526" y="56133"/>
                </a:lnTo>
                <a:lnTo>
                  <a:pt x="3885526" y="56997"/>
                </a:lnTo>
                <a:lnTo>
                  <a:pt x="3889993" y="78884"/>
                </a:lnTo>
                <a:lnTo>
                  <a:pt x="3902151" y="96723"/>
                </a:lnTo>
                <a:lnTo>
                  <a:pt x="3920138" y="108732"/>
                </a:lnTo>
                <a:lnTo>
                  <a:pt x="3942092" y="113131"/>
                </a:lnTo>
                <a:lnTo>
                  <a:pt x="3964047" y="108732"/>
                </a:lnTo>
                <a:lnTo>
                  <a:pt x="3982034" y="96723"/>
                </a:lnTo>
                <a:lnTo>
                  <a:pt x="3994192" y="78884"/>
                </a:lnTo>
                <a:lnTo>
                  <a:pt x="3998658" y="56997"/>
                </a:lnTo>
                <a:lnTo>
                  <a:pt x="3998658" y="56133"/>
                </a:lnTo>
                <a:lnTo>
                  <a:pt x="3994009" y="34247"/>
                </a:lnTo>
                <a:lnTo>
                  <a:pt x="3981548" y="16408"/>
                </a:lnTo>
                <a:lnTo>
                  <a:pt x="3963500" y="4398"/>
                </a:lnTo>
                <a:lnTo>
                  <a:pt x="3942092" y="0"/>
                </a:lnTo>
                <a:close/>
              </a:path>
              <a:path w="8402320" h="113664">
                <a:moveTo>
                  <a:pt x="4201134" y="0"/>
                </a:moveTo>
                <a:lnTo>
                  <a:pt x="4179544" y="4398"/>
                </a:lnTo>
                <a:lnTo>
                  <a:pt x="4161516" y="16408"/>
                </a:lnTo>
                <a:lnTo>
                  <a:pt x="4149156" y="34247"/>
                </a:lnTo>
                <a:lnTo>
                  <a:pt x="4144568" y="56133"/>
                </a:lnTo>
                <a:lnTo>
                  <a:pt x="4144568" y="56997"/>
                </a:lnTo>
                <a:lnTo>
                  <a:pt x="4149035" y="78884"/>
                </a:lnTo>
                <a:lnTo>
                  <a:pt x="4161193" y="96723"/>
                </a:lnTo>
                <a:lnTo>
                  <a:pt x="4179180" y="108732"/>
                </a:lnTo>
                <a:lnTo>
                  <a:pt x="4201134" y="113131"/>
                </a:lnTo>
                <a:lnTo>
                  <a:pt x="4223088" y="108732"/>
                </a:lnTo>
                <a:lnTo>
                  <a:pt x="4241076" y="96723"/>
                </a:lnTo>
                <a:lnTo>
                  <a:pt x="4253233" y="78884"/>
                </a:lnTo>
                <a:lnTo>
                  <a:pt x="4257700" y="56997"/>
                </a:lnTo>
                <a:lnTo>
                  <a:pt x="4257700" y="56133"/>
                </a:lnTo>
                <a:lnTo>
                  <a:pt x="4253051" y="34247"/>
                </a:lnTo>
                <a:lnTo>
                  <a:pt x="4240590" y="16408"/>
                </a:lnTo>
                <a:lnTo>
                  <a:pt x="4222542" y="4398"/>
                </a:lnTo>
                <a:lnTo>
                  <a:pt x="4201134" y="0"/>
                </a:lnTo>
                <a:close/>
              </a:path>
              <a:path w="8402320" h="113664">
                <a:moveTo>
                  <a:pt x="4460163" y="0"/>
                </a:moveTo>
                <a:lnTo>
                  <a:pt x="4438573" y="4398"/>
                </a:lnTo>
                <a:lnTo>
                  <a:pt x="4420546" y="16408"/>
                </a:lnTo>
                <a:lnTo>
                  <a:pt x="4408185" y="34247"/>
                </a:lnTo>
                <a:lnTo>
                  <a:pt x="4403598" y="56133"/>
                </a:lnTo>
                <a:lnTo>
                  <a:pt x="4403598" y="56997"/>
                </a:lnTo>
                <a:lnTo>
                  <a:pt x="4408064" y="78884"/>
                </a:lnTo>
                <a:lnTo>
                  <a:pt x="4420222" y="96723"/>
                </a:lnTo>
                <a:lnTo>
                  <a:pt x="4438209" y="108732"/>
                </a:lnTo>
                <a:lnTo>
                  <a:pt x="4460163" y="113131"/>
                </a:lnTo>
                <a:lnTo>
                  <a:pt x="4482118" y="108732"/>
                </a:lnTo>
                <a:lnTo>
                  <a:pt x="4500105" y="96723"/>
                </a:lnTo>
                <a:lnTo>
                  <a:pt x="4512263" y="78884"/>
                </a:lnTo>
                <a:lnTo>
                  <a:pt x="4516729" y="56997"/>
                </a:lnTo>
                <a:lnTo>
                  <a:pt x="4516729" y="56133"/>
                </a:lnTo>
                <a:lnTo>
                  <a:pt x="4512081" y="34247"/>
                </a:lnTo>
                <a:lnTo>
                  <a:pt x="4499619" y="16408"/>
                </a:lnTo>
                <a:lnTo>
                  <a:pt x="4481571" y="4398"/>
                </a:lnTo>
                <a:lnTo>
                  <a:pt x="4460163" y="0"/>
                </a:lnTo>
                <a:close/>
              </a:path>
              <a:path w="8402320" h="113664">
                <a:moveTo>
                  <a:pt x="4719205" y="0"/>
                </a:moveTo>
                <a:lnTo>
                  <a:pt x="4697615" y="4398"/>
                </a:lnTo>
                <a:lnTo>
                  <a:pt x="4679588" y="16408"/>
                </a:lnTo>
                <a:lnTo>
                  <a:pt x="4667227" y="34247"/>
                </a:lnTo>
                <a:lnTo>
                  <a:pt x="4662639" y="56133"/>
                </a:lnTo>
                <a:lnTo>
                  <a:pt x="4662639" y="56997"/>
                </a:lnTo>
                <a:lnTo>
                  <a:pt x="4667106" y="78884"/>
                </a:lnTo>
                <a:lnTo>
                  <a:pt x="4679264" y="96723"/>
                </a:lnTo>
                <a:lnTo>
                  <a:pt x="4697251" y="108732"/>
                </a:lnTo>
                <a:lnTo>
                  <a:pt x="4719205" y="113131"/>
                </a:lnTo>
                <a:lnTo>
                  <a:pt x="4741160" y="108732"/>
                </a:lnTo>
                <a:lnTo>
                  <a:pt x="4759147" y="96723"/>
                </a:lnTo>
                <a:lnTo>
                  <a:pt x="4771305" y="78884"/>
                </a:lnTo>
                <a:lnTo>
                  <a:pt x="4775771" y="56997"/>
                </a:lnTo>
                <a:lnTo>
                  <a:pt x="4775771" y="56133"/>
                </a:lnTo>
                <a:lnTo>
                  <a:pt x="4771122" y="34247"/>
                </a:lnTo>
                <a:lnTo>
                  <a:pt x="4758661" y="16408"/>
                </a:lnTo>
                <a:lnTo>
                  <a:pt x="4740613" y="4398"/>
                </a:lnTo>
                <a:lnTo>
                  <a:pt x="4719205" y="0"/>
                </a:lnTo>
                <a:close/>
              </a:path>
              <a:path w="8402320" h="113664">
                <a:moveTo>
                  <a:pt x="4978234" y="0"/>
                </a:moveTo>
                <a:lnTo>
                  <a:pt x="4956644" y="4398"/>
                </a:lnTo>
                <a:lnTo>
                  <a:pt x="4938617" y="16408"/>
                </a:lnTo>
                <a:lnTo>
                  <a:pt x="4926256" y="34247"/>
                </a:lnTo>
                <a:lnTo>
                  <a:pt x="4921669" y="56133"/>
                </a:lnTo>
                <a:lnTo>
                  <a:pt x="4921669" y="56997"/>
                </a:lnTo>
                <a:lnTo>
                  <a:pt x="4926135" y="78884"/>
                </a:lnTo>
                <a:lnTo>
                  <a:pt x="4938293" y="96723"/>
                </a:lnTo>
                <a:lnTo>
                  <a:pt x="4956280" y="108732"/>
                </a:lnTo>
                <a:lnTo>
                  <a:pt x="4978234" y="113131"/>
                </a:lnTo>
                <a:lnTo>
                  <a:pt x="5000189" y="108732"/>
                </a:lnTo>
                <a:lnTo>
                  <a:pt x="5018176" y="96723"/>
                </a:lnTo>
                <a:lnTo>
                  <a:pt x="5030334" y="78884"/>
                </a:lnTo>
                <a:lnTo>
                  <a:pt x="5034800" y="56997"/>
                </a:lnTo>
                <a:lnTo>
                  <a:pt x="5034800" y="56133"/>
                </a:lnTo>
                <a:lnTo>
                  <a:pt x="5030152" y="34247"/>
                </a:lnTo>
                <a:lnTo>
                  <a:pt x="5017690" y="16408"/>
                </a:lnTo>
                <a:lnTo>
                  <a:pt x="4999642" y="4398"/>
                </a:lnTo>
                <a:lnTo>
                  <a:pt x="4978234" y="0"/>
                </a:lnTo>
                <a:close/>
              </a:path>
              <a:path w="8402320" h="113664">
                <a:moveTo>
                  <a:pt x="5237276" y="0"/>
                </a:moveTo>
                <a:lnTo>
                  <a:pt x="5215686" y="4398"/>
                </a:lnTo>
                <a:lnTo>
                  <a:pt x="5197659" y="16408"/>
                </a:lnTo>
                <a:lnTo>
                  <a:pt x="5185298" y="34247"/>
                </a:lnTo>
                <a:lnTo>
                  <a:pt x="5180711" y="56133"/>
                </a:lnTo>
                <a:lnTo>
                  <a:pt x="5180711" y="56997"/>
                </a:lnTo>
                <a:lnTo>
                  <a:pt x="5185177" y="78884"/>
                </a:lnTo>
                <a:lnTo>
                  <a:pt x="5197335" y="96723"/>
                </a:lnTo>
                <a:lnTo>
                  <a:pt x="5215322" y="108732"/>
                </a:lnTo>
                <a:lnTo>
                  <a:pt x="5237276" y="113131"/>
                </a:lnTo>
                <a:lnTo>
                  <a:pt x="5259231" y="108732"/>
                </a:lnTo>
                <a:lnTo>
                  <a:pt x="5277218" y="96723"/>
                </a:lnTo>
                <a:lnTo>
                  <a:pt x="5289376" y="78884"/>
                </a:lnTo>
                <a:lnTo>
                  <a:pt x="5293842" y="56997"/>
                </a:lnTo>
                <a:lnTo>
                  <a:pt x="5293842" y="56133"/>
                </a:lnTo>
                <a:lnTo>
                  <a:pt x="5289194" y="34247"/>
                </a:lnTo>
                <a:lnTo>
                  <a:pt x="5276732" y="16408"/>
                </a:lnTo>
                <a:lnTo>
                  <a:pt x="5258684" y="4398"/>
                </a:lnTo>
                <a:lnTo>
                  <a:pt x="5237276" y="0"/>
                </a:lnTo>
                <a:close/>
              </a:path>
              <a:path w="8402320" h="113664">
                <a:moveTo>
                  <a:pt x="5496306" y="0"/>
                </a:moveTo>
                <a:lnTo>
                  <a:pt x="5474716" y="4398"/>
                </a:lnTo>
                <a:lnTo>
                  <a:pt x="5456688" y="16408"/>
                </a:lnTo>
                <a:lnTo>
                  <a:pt x="5444328" y="34247"/>
                </a:lnTo>
                <a:lnTo>
                  <a:pt x="5439740" y="56133"/>
                </a:lnTo>
                <a:lnTo>
                  <a:pt x="5439740" y="56997"/>
                </a:lnTo>
                <a:lnTo>
                  <a:pt x="5444206" y="78884"/>
                </a:lnTo>
                <a:lnTo>
                  <a:pt x="5456364" y="96723"/>
                </a:lnTo>
                <a:lnTo>
                  <a:pt x="5474351" y="108732"/>
                </a:lnTo>
                <a:lnTo>
                  <a:pt x="5496306" y="113131"/>
                </a:lnTo>
                <a:lnTo>
                  <a:pt x="5518260" y="108732"/>
                </a:lnTo>
                <a:lnTo>
                  <a:pt x="5536247" y="96723"/>
                </a:lnTo>
                <a:lnTo>
                  <a:pt x="5548405" y="78884"/>
                </a:lnTo>
                <a:lnTo>
                  <a:pt x="5552871" y="56997"/>
                </a:lnTo>
                <a:lnTo>
                  <a:pt x="5552871" y="56133"/>
                </a:lnTo>
                <a:lnTo>
                  <a:pt x="5548223" y="34247"/>
                </a:lnTo>
                <a:lnTo>
                  <a:pt x="5535761" y="16408"/>
                </a:lnTo>
                <a:lnTo>
                  <a:pt x="5517713" y="4398"/>
                </a:lnTo>
                <a:lnTo>
                  <a:pt x="5496306" y="0"/>
                </a:lnTo>
                <a:close/>
              </a:path>
              <a:path w="8402320" h="113664">
                <a:moveTo>
                  <a:pt x="5755347" y="0"/>
                </a:moveTo>
                <a:lnTo>
                  <a:pt x="5733757" y="4398"/>
                </a:lnTo>
                <a:lnTo>
                  <a:pt x="5715730" y="16408"/>
                </a:lnTo>
                <a:lnTo>
                  <a:pt x="5703369" y="34247"/>
                </a:lnTo>
                <a:lnTo>
                  <a:pt x="5698782" y="56133"/>
                </a:lnTo>
                <a:lnTo>
                  <a:pt x="5698782" y="56997"/>
                </a:lnTo>
                <a:lnTo>
                  <a:pt x="5703248" y="78884"/>
                </a:lnTo>
                <a:lnTo>
                  <a:pt x="5715406" y="96723"/>
                </a:lnTo>
                <a:lnTo>
                  <a:pt x="5733393" y="108732"/>
                </a:lnTo>
                <a:lnTo>
                  <a:pt x="5755347" y="113131"/>
                </a:lnTo>
                <a:lnTo>
                  <a:pt x="5777302" y="108732"/>
                </a:lnTo>
                <a:lnTo>
                  <a:pt x="5795289" y="96723"/>
                </a:lnTo>
                <a:lnTo>
                  <a:pt x="5807447" y="78884"/>
                </a:lnTo>
                <a:lnTo>
                  <a:pt x="5811913" y="56997"/>
                </a:lnTo>
                <a:lnTo>
                  <a:pt x="5811913" y="56133"/>
                </a:lnTo>
                <a:lnTo>
                  <a:pt x="5807265" y="34247"/>
                </a:lnTo>
                <a:lnTo>
                  <a:pt x="5794803" y="16408"/>
                </a:lnTo>
                <a:lnTo>
                  <a:pt x="5776755" y="4398"/>
                </a:lnTo>
                <a:lnTo>
                  <a:pt x="5755347" y="0"/>
                </a:lnTo>
                <a:close/>
              </a:path>
              <a:path w="8402320" h="113664">
                <a:moveTo>
                  <a:pt x="6014377" y="0"/>
                </a:moveTo>
                <a:lnTo>
                  <a:pt x="5992787" y="4398"/>
                </a:lnTo>
                <a:lnTo>
                  <a:pt x="5974759" y="16408"/>
                </a:lnTo>
                <a:lnTo>
                  <a:pt x="5962399" y="34247"/>
                </a:lnTo>
                <a:lnTo>
                  <a:pt x="5957811" y="56133"/>
                </a:lnTo>
                <a:lnTo>
                  <a:pt x="5957811" y="56997"/>
                </a:lnTo>
                <a:lnTo>
                  <a:pt x="5962277" y="78884"/>
                </a:lnTo>
                <a:lnTo>
                  <a:pt x="5974435" y="96723"/>
                </a:lnTo>
                <a:lnTo>
                  <a:pt x="5992422" y="108732"/>
                </a:lnTo>
                <a:lnTo>
                  <a:pt x="6014377" y="113131"/>
                </a:lnTo>
                <a:lnTo>
                  <a:pt x="6036331" y="108732"/>
                </a:lnTo>
                <a:lnTo>
                  <a:pt x="6054318" y="96723"/>
                </a:lnTo>
                <a:lnTo>
                  <a:pt x="6066476" y="78884"/>
                </a:lnTo>
                <a:lnTo>
                  <a:pt x="6070942" y="56997"/>
                </a:lnTo>
                <a:lnTo>
                  <a:pt x="6070942" y="56133"/>
                </a:lnTo>
                <a:lnTo>
                  <a:pt x="6066294" y="34247"/>
                </a:lnTo>
                <a:lnTo>
                  <a:pt x="6053832" y="16408"/>
                </a:lnTo>
                <a:lnTo>
                  <a:pt x="6035784" y="4398"/>
                </a:lnTo>
                <a:lnTo>
                  <a:pt x="6014377" y="0"/>
                </a:lnTo>
                <a:close/>
              </a:path>
              <a:path w="8402320" h="113664">
                <a:moveTo>
                  <a:pt x="6273419" y="0"/>
                </a:moveTo>
                <a:lnTo>
                  <a:pt x="6251829" y="4398"/>
                </a:lnTo>
                <a:lnTo>
                  <a:pt x="6233801" y="16408"/>
                </a:lnTo>
                <a:lnTo>
                  <a:pt x="6221441" y="34247"/>
                </a:lnTo>
                <a:lnTo>
                  <a:pt x="6216853" y="56133"/>
                </a:lnTo>
                <a:lnTo>
                  <a:pt x="6216853" y="56997"/>
                </a:lnTo>
                <a:lnTo>
                  <a:pt x="6221319" y="78884"/>
                </a:lnTo>
                <a:lnTo>
                  <a:pt x="6233477" y="96723"/>
                </a:lnTo>
                <a:lnTo>
                  <a:pt x="6251464" y="108732"/>
                </a:lnTo>
                <a:lnTo>
                  <a:pt x="6273419" y="113131"/>
                </a:lnTo>
                <a:lnTo>
                  <a:pt x="6295373" y="108732"/>
                </a:lnTo>
                <a:lnTo>
                  <a:pt x="6313360" y="96723"/>
                </a:lnTo>
                <a:lnTo>
                  <a:pt x="6325518" y="78884"/>
                </a:lnTo>
                <a:lnTo>
                  <a:pt x="6329984" y="56997"/>
                </a:lnTo>
                <a:lnTo>
                  <a:pt x="6329984" y="56133"/>
                </a:lnTo>
                <a:lnTo>
                  <a:pt x="6325336" y="34247"/>
                </a:lnTo>
                <a:lnTo>
                  <a:pt x="6312874" y="16408"/>
                </a:lnTo>
                <a:lnTo>
                  <a:pt x="6294826" y="4398"/>
                </a:lnTo>
                <a:lnTo>
                  <a:pt x="6273419" y="0"/>
                </a:lnTo>
                <a:close/>
              </a:path>
              <a:path w="8402320" h="113664">
                <a:moveTo>
                  <a:pt x="6532448" y="0"/>
                </a:moveTo>
                <a:lnTo>
                  <a:pt x="6510858" y="4398"/>
                </a:lnTo>
                <a:lnTo>
                  <a:pt x="6492830" y="16408"/>
                </a:lnTo>
                <a:lnTo>
                  <a:pt x="6480470" y="34247"/>
                </a:lnTo>
                <a:lnTo>
                  <a:pt x="6475882" y="56133"/>
                </a:lnTo>
                <a:lnTo>
                  <a:pt x="6475882" y="56997"/>
                </a:lnTo>
                <a:lnTo>
                  <a:pt x="6480348" y="78884"/>
                </a:lnTo>
                <a:lnTo>
                  <a:pt x="6492506" y="96723"/>
                </a:lnTo>
                <a:lnTo>
                  <a:pt x="6510493" y="108732"/>
                </a:lnTo>
                <a:lnTo>
                  <a:pt x="6532448" y="113131"/>
                </a:lnTo>
                <a:lnTo>
                  <a:pt x="6554402" y="108732"/>
                </a:lnTo>
                <a:lnTo>
                  <a:pt x="6572389" y="96723"/>
                </a:lnTo>
                <a:lnTo>
                  <a:pt x="6584547" y="78884"/>
                </a:lnTo>
                <a:lnTo>
                  <a:pt x="6589013" y="56997"/>
                </a:lnTo>
                <a:lnTo>
                  <a:pt x="6589013" y="56133"/>
                </a:lnTo>
                <a:lnTo>
                  <a:pt x="6584365" y="34247"/>
                </a:lnTo>
                <a:lnTo>
                  <a:pt x="6571903" y="16408"/>
                </a:lnTo>
                <a:lnTo>
                  <a:pt x="6553856" y="4398"/>
                </a:lnTo>
                <a:lnTo>
                  <a:pt x="6532448" y="0"/>
                </a:lnTo>
                <a:close/>
              </a:path>
              <a:path w="8402320" h="113664">
                <a:moveTo>
                  <a:pt x="6791490" y="0"/>
                </a:moveTo>
                <a:lnTo>
                  <a:pt x="6769900" y="4398"/>
                </a:lnTo>
                <a:lnTo>
                  <a:pt x="6751872" y="16408"/>
                </a:lnTo>
                <a:lnTo>
                  <a:pt x="6739512" y="34247"/>
                </a:lnTo>
                <a:lnTo>
                  <a:pt x="6734924" y="56133"/>
                </a:lnTo>
                <a:lnTo>
                  <a:pt x="6734924" y="56997"/>
                </a:lnTo>
                <a:lnTo>
                  <a:pt x="6739390" y="78884"/>
                </a:lnTo>
                <a:lnTo>
                  <a:pt x="6751548" y="96723"/>
                </a:lnTo>
                <a:lnTo>
                  <a:pt x="6769535" y="108732"/>
                </a:lnTo>
                <a:lnTo>
                  <a:pt x="6791490" y="113131"/>
                </a:lnTo>
                <a:lnTo>
                  <a:pt x="6813444" y="108732"/>
                </a:lnTo>
                <a:lnTo>
                  <a:pt x="6831431" y="96723"/>
                </a:lnTo>
                <a:lnTo>
                  <a:pt x="6843589" y="78884"/>
                </a:lnTo>
                <a:lnTo>
                  <a:pt x="6848055" y="56997"/>
                </a:lnTo>
                <a:lnTo>
                  <a:pt x="6848055" y="56133"/>
                </a:lnTo>
                <a:lnTo>
                  <a:pt x="6843407" y="34247"/>
                </a:lnTo>
                <a:lnTo>
                  <a:pt x="6830945" y="16408"/>
                </a:lnTo>
                <a:lnTo>
                  <a:pt x="6812897" y="4398"/>
                </a:lnTo>
                <a:lnTo>
                  <a:pt x="6791490" y="0"/>
                </a:lnTo>
                <a:close/>
              </a:path>
              <a:path w="8402320" h="113664">
                <a:moveTo>
                  <a:pt x="7050519" y="0"/>
                </a:moveTo>
                <a:lnTo>
                  <a:pt x="7028929" y="4398"/>
                </a:lnTo>
                <a:lnTo>
                  <a:pt x="7010901" y="16408"/>
                </a:lnTo>
                <a:lnTo>
                  <a:pt x="6998541" y="34247"/>
                </a:lnTo>
                <a:lnTo>
                  <a:pt x="6993953" y="56133"/>
                </a:lnTo>
                <a:lnTo>
                  <a:pt x="6993953" y="56997"/>
                </a:lnTo>
                <a:lnTo>
                  <a:pt x="6998419" y="78884"/>
                </a:lnTo>
                <a:lnTo>
                  <a:pt x="7010577" y="96723"/>
                </a:lnTo>
                <a:lnTo>
                  <a:pt x="7028564" y="108732"/>
                </a:lnTo>
                <a:lnTo>
                  <a:pt x="7050519" y="113131"/>
                </a:lnTo>
                <a:lnTo>
                  <a:pt x="7072473" y="108732"/>
                </a:lnTo>
                <a:lnTo>
                  <a:pt x="7090460" y="96723"/>
                </a:lnTo>
                <a:lnTo>
                  <a:pt x="7102618" y="78884"/>
                </a:lnTo>
                <a:lnTo>
                  <a:pt x="7107085" y="56997"/>
                </a:lnTo>
                <a:lnTo>
                  <a:pt x="7107085" y="56133"/>
                </a:lnTo>
                <a:lnTo>
                  <a:pt x="7102436" y="34247"/>
                </a:lnTo>
                <a:lnTo>
                  <a:pt x="7089975" y="16408"/>
                </a:lnTo>
                <a:lnTo>
                  <a:pt x="7071927" y="4398"/>
                </a:lnTo>
                <a:lnTo>
                  <a:pt x="7050519" y="0"/>
                </a:lnTo>
                <a:close/>
              </a:path>
              <a:path w="8402320" h="113664">
                <a:moveTo>
                  <a:pt x="7309561" y="0"/>
                </a:moveTo>
                <a:lnTo>
                  <a:pt x="7287971" y="4398"/>
                </a:lnTo>
                <a:lnTo>
                  <a:pt x="7269943" y="16408"/>
                </a:lnTo>
                <a:lnTo>
                  <a:pt x="7257583" y="34247"/>
                </a:lnTo>
                <a:lnTo>
                  <a:pt x="7252995" y="56133"/>
                </a:lnTo>
                <a:lnTo>
                  <a:pt x="7252995" y="56997"/>
                </a:lnTo>
                <a:lnTo>
                  <a:pt x="7257461" y="78884"/>
                </a:lnTo>
                <a:lnTo>
                  <a:pt x="7269619" y="96723"/>
                </a:lnTo>
                <a:lnTo>
                  <a:pt x="7287606" y="108732"/>
                </a:lnTo>
                <a:lnTo>
                  <a:pt x="7309561" y="113131"/>
                </a:lnTo>
                <a:lnTo>
                  <a:pt x="7331515" y="108732"/>
                </a:lnTo>
                <a:lnTo>
                  <a:pt x="7349502" y="96723"/>
                </a:lnTo>
                <a:lnTo>
                  <a:pt x="7361660" y="78884"/>
                </a:lnTo>
                <a:lnTo>
                  <a:pt x="7366127" y="56997"/>
                </a:lnTo>
                <a:lnTo>
                  <a:pt x="7366127" y="56133"/>
                </a:lnTo>
                <a:lnTo>
                  <a:pt x="7361478" y="34247"/>
                </a:lnTo>
                <a:lnTo>
                  <a:pt x="7349016" y="16408"/>
                </a:lnTo>
                <a:lnTo>
                  <a:pt x="7330969" y="4398"/>
                </a:lnTo>
                <a:lnTo>
                  <a:pt x="7309561" y="0"/>
                </a:lnTo>
                <a:close/>
              </a:path>
              <a:path w="8402320" h="113664">
                <a:moveTo>
                  <a:pt x="7568590" y="0"/>
                </a:moveTo>
                <a:lnTo>
                  <a:pt x="7547000" y="4398"/>
                </a:lnTo>
                <a:lnTo>
                  <a:pt x="7528972" y="16408"/>
                </a:lnTo>
                <a:lnTo>
                  <a:pt x="7516612" y="34247"/>
                </a:lnTo>
                <a:lnTo>
                  <a:pt x="7512024" y="56133"/>
                </a:lnTo>
                <a:lnTo>
                  <a:pt x="7512024" y="56997"/>
                </a:lnTo>
                <a:lnTo>
                  <a:pt x="7516491" y="78884"/>
                </a:lnTo>
                <a:lnTo>
                  <a:pt x="7528648" y="96723"/>
                </a:lnTo>
                <a:lnTo>
                  <a:pt x="7546636" y="108732"/>
                </a:lnTo>
                <a:lnTo>
                  <a:pt x="7568590" y="113131"/>
                </a:lnTo>
                <a:lnTo>
                  <a:pt x="7590544" y="108732"/>
                </a:lnTo>
                <a:lnTo>
                  <a:pt x="7608531" y="96723"/>
                </a:lnTo>
                <a:lnTo>
                  <a:pt x="7620689" y="78884"/>
                </a:lnTo>
                <a:lnTo>
                  <a:pt x="7625156" y="56997"/>
                </a:lnTo>
                <a:lnTo>
                  <a:pt x="7625156" y="56133"/>
                </a:lnTo>
                <a:lnTo>
                  <a:pt x="7620507" y="34247"/>
                </a:lnTo>
                <a:lnTo>
                  <a:pt x="7608046" y="16408"/>
                </a:lnTo>
                <a:lnTo>
                  <a:pt x="7589998" y="4398"/>
                </a:lnTo>
                <a:lnTo>
                  <a:pt x="7568590" y="0"/>
                </a:lnTo>
                <a:close/>
              </a:path>
              <a:path w="8402320" h="113664">
                <a:moveTo>
                  <a:pt x="7827632" y="0"/>
                </a:moveTo>
                <a:lnTo>
                  <a:pt x="7806042" y="4398"/>
                </a:lnTo>
                <a:lnTo>
                  <a:pt x="7788014" y="16408"/>
                </a:lnTo>
                <a:lnTo>
                  <a:pt x="7775654" y="34247"/>
                </a:lnTo>
                <a:lnTo>
                  <a:pt x="7771066" y="56133"/>
                </a:lnTo>
                <a:lnTo>
                  <a:pt x="7771066" y="56997"/>
                </a:lnTo>
                <a:lnTo>
                  <a:pt x="7775532" y="78884"/>
                </a:lnTo>
                <a:lnTo>
                  <a:pt x="7787690" y="96723"/>
                </a:lnTo>
                <a:lnTo>
                  <a:pt x="7805677" y="108732"/>
                </a:lnTo>
                <a:lnTo>
                  <a:pt x="7827632" y="113131"/>
                </a:lnTo>
                <a:lnTo>
                  <a:pt x="7849586" y="108732"/>
                </a:lnTo>
                <a:lnTo>
                  <a:pt x="7867573" y="96723"/>
                </a:lnTo>
                <a:lnTo>
                  <a:pt x="7879731" y="78884"/>
                </a:lnTo>
                <a:lnTo>
                  <a:pt x="7884198" y="56997"/>
                </a:lnTo>
                <a:lnTo>
                  <a:pt x="7884198" y="56133"/>
                </a:lnTo>
                <a:lnTo>
                  <a:pt x="7879549" y="34247"/>
                </a:lnTo>
                <a:lnTo>
                  <a:pt x="7867088" y="16408"/>
                </a:lnTo>
                <a:lnTo>
                  <a:pt x="7849040" y="4398"/>
                </a:lnTo>
                <a:lnTo>
                  <a:pt x="7827632" y="0"/>
                </a:lnTo>
                <a:close/>
              </a:path>
              <a:path w="8402320" h="113664">
                <a:moveTo>
                  <a:pt x="8086661" y="0"/>
                </a:moveTo>
                <a:lnTo>
                  <a:pt x="8065071" y="4398"/>
                </a:lnTo>
                <a:lnTo>
                  <a:pt x="8047043" y="16408"/>
                </a:lnTo>
                <a:lnTo>
                  <a:pt x="8034683" y="34247"/>
                </a:lnTo>
                <a:lnTo>
                  <a:pt x="8030095" y="56133"/>
                </a:lnTo>
                <a:lnTo>
                  <a:pt x="8030095" y="56997"/>
                </a:lnTo>
                <a:lnTo>
                  <a:pt x="8034562" y="78884"/>
                </a:lnTo>
                <a:lnTo>
                  <a:pt x="8046719" y="96723"/>
                </a:lnTo>
                <a:lnTo>
                  <a:pt x="8064707" y="108732"/>
                </a:lnTo>
                <a:lnTo>
                  <a:pt x="8086661" y="113131"/>
                </a:lnTo>
                <a:lnTo>
                  <a:pt x="8108615" y="108732"/>
                </a:lnTo>
                <a:lnTo>
                  <a:pt x="8126603" y="96723"/>
                </a:lnTo>
                <a:lnTo>
                  <a:pt x="8138760" y="78884"/>
                </a:lnTo>
                <a:lnTo>
                  <a:pt x="8143227" y="56997"/>
                </a:lnTo>
                <a:lnTo>
                  <a:pt x="8143227" y="56133"/>
                </a:lnTo>
                <a:lnTo>
                  <a:pt x="8138578" y="34247"/>
                </a:lnTo>
                <a:lnTo>
                  <a:pt x="8126117" y="16408"/>
                </a:lnTo>
                <a:lnTo>
                  <a:pt x="8108069" y="4398"/>
                </a:lnTo>
                <a:lnTo>
                  <a:pt x="8086661" y="0"/>
                </a:lnTo>
                <a:close/>
              </a:path>
              <a:path w="8402320" h="113664">
                <a:moveTo>
                  <a:pt x="8345703" y="0"/>
                </a:moveTo>
                <a:lnTo>
                  <a:pt x="8324113" y="4398"/>
                </a:lnTo>
                <a:lnTo>
                  <a:pt x="8306085" y="16408"/>
                </a:lnTo>
                <a:lnTo>
                  <a:pt x="8293725" y="34247"/>
                </a:lnTo>
                <a:lnTo>
                  <a:pt x="8289137" y="56133"/>
                </a:lnTo>
                <a:lnTo>
                  <a:pt x="8289137" y="56997"/>
                </a:lnTo>
                <a:lnTo>
                  <a:pt x="8293604" y="78884"/>
                </a:lnTo>
                <a:lnTo>
                  <a:pt x="8305761" y="96723"/>
                </a:lnTo>
                <a:lnTo>
                  <a:pt x="8323749" y="108732"/>
                </a:lnTo>
                <a:lnTo>
                  <a:pt x="8345703" y="113131"/>
                </a:lnTo>
                <a:lnTo>
                  <a:pt x="8367657" y="108732"/>
                </a:lnTo>
                <a:lnTo>
                  <a:pt x="8385644" y="96723"/>
                </a:lnTo>
                <a:lnTo>
                  <a:pt x="8397802" y="78884"/>
                </a:lnTo>
                <a:lnTo>
                  <a:pt x="8402269" y="56997"/>
                </a:lnTo>
                <a:lnTo>
                  <a:pt x="8402269" y="56133"/>
                </a:lnTo>
                <a:lnTo>
                  <a:pt x="8397620" y="34247"/>
                </a:lnTo>
                <a:lnTo>
                  <a:pt x="8385159" y="16408"/>
                </a:lnTo>
                <a:lnTo>
                  <a:pt x="8367111" y="4398"/>
                </a:lnTo>
                <a:lnTo>
                  <a:pt x="8345703" y="0"/>
                </a:lnTo>
                <a:close/>
              </a:path>
            </a:pathLst>
          </a:custGeom>
          <a:solidFill>
            <a:srgbClr val="E2E3E4"/>
          </a:solidFill>
        </p:spPr>
        <p:txBody>
          <a:bodyPr wrap="square" lIns="0" tIns="0" rIns="0" bIns="0" rtlCol="0"/>
          <a:lstStyle/>
          <a:p>
            <a:endParaRPr sz="1800"/>
          </a:p>
        </p:txBody>
      </p:sp>
      <p:pic>
        <p:nvPicPr>
          <p:cNvPr id="15"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7167" y="3684588"/>
            <a:ext cx="10117667" cy="4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50275" r="-2153"/>
          <a:stretch/>
        </p:blipFill>
        <p:spPr>
          <a:xfrm>
            <a:off x="5994400" y="479327"/>
            <a:ext cx="2626821" cy="44250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l="2" r="59064"/>
          <a:stretch/>
        </p:blipFill>
        <p:spPr>
          <a:xfrm>
            <a:off x="9042400" y="457200"/>
            <a:ext cx="2279904" cy="486756"/>
          </a:xfrm>
          <a:prstGeom prst="rect">
            <a:avLst/>
          </a:prstGeom>
        </p:spPr>
      </p:pic>
    </p:spTree>
    <p:extLst>
      <p:ext uri="{BB962C8B-B14F-4D97-AF65-F5344CB8AC3E}">
        <p14:creationId xmlns:p14="http://schemas.microsoft.com/office/powerpoint/2010/main" val="1623716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default">
    <p:spTree>
      <p:nvGrpSpPr>
        <p:cNvPr id="1" name=""/>
        <p:cNvGrpSpPr/>
        <p:nvPr/>
      </p:nvGrpSpPr>
      <p:grpSpPr>
        <a:xfrm>
          <a:off x="0" y="0"/>
          <a:ext cx="0" cy="0"/>
          <a:chOff x="0" y="0"/>
          <a:chExt cx="0" cy="0"/>
        </a:xfrm>
      </p:grpSpPr>
      <p:sp>
        <p:nvSpPr>
          <p:cNvPr id="11" name="Title 1"/>
          <p:cNvSpPr>
            <a:spLocks noGrp="1"/>
          </p:cNvSpPr>
          <p:nvPr>
            <p:ph type="title"/>
          </p:nvPr>
        </p:nvSpPr>
        <p:spPr>
          <a:xfrm>
            <a:off x="609600" y="152400"/>
            <a:ext cx="10972800" cy="792162"/>
          </a:xfrm>
        </p:spPr>
        <p:txBody>
          <a:bodyPr anchor="b" anchorCtr="0">
            <a:noAutofit/>
          </a:bodyPr>
          <a:lstStyle>
            <a:lvl1pPr algn="l">
              <a:defRPr sz="2800">
                <a:solidFill>
                  <a:srgbClr val="00A94F"/>
                </a:solidFill>
                <a:latin typeface="Arial Rounded MT Bold" panose="020F0704030504030204" pitchFamily="34" charset="0"/>
              </a:defRPr>
            </a:lvl1pPr>
          </a:lstStyle>
          <a:p>
            <a:r>
              <a:rPr lang="en-US"/>
              <a:t>Click to edit Master title style</a:t>
            </a:r>
            <a:endParaRPr lang="en-US" dirty="0"/>
          </a:p>
        </p:txBody>
      </p:sp>
      <p:sp>
        <p:nvSpPr>
          <p:cNvPr id="14" name="Content Placeholder 2"/>
          <p:cNvSpPr>
            <a:spLocks noGrp="1"/>
          </p:cNvSpPr>
          <p:nvPr>
            <p:ph idx="1"/>
          </p:nvPr>
        </p:nvSpPr>
        <p:spPr>
          <a:xfrm>
            <a:off x="609600" y="1173162"/>
            <a:ext cx="10972800" cy="5075238"/>
          </a:xfrm>
        </p:spPr>
        <p:txBody>
          <a:bodyPr>
            <a:noAutofit/>
          </a:bodyPr>
          <a:lstStyle>
            <a:lvl1pPr>
              <a:defRPr sz="2400">
                <a:solidFill>
                  <a:schemeClr val="tx1"/>
                </a:solidFill>
              </a:defRPr>
            </a:lvl1pPr>
            <a:lvl2pPr>
              <a:defRPr sz="2400">
                <a:solidFill>
                  <a:schemeClr val="tx1"/>
                </a:solidFill>
              </a:defRPr>
            </a:lvl2pPr>
            <a:lvl3pPr>
              <a:defRPr sz="2400">
                <a:solidFill>
                  <a:schemeClr val="tx1"/>
                </a:solidFill>
              </a:defRPr>
            </a:lvl3pPr>
            <a:lvl4pPr>
              <a:defRPr sz="2400">
                <a:solidFill>
                  <a:schemeClr val="tx1"/>
                </a:solidFill>
              </a:defRPr>
            </a:lvl4pPr>
            <a:lvl5pP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833" y="1028701"/>
            <a:ext cx="10727267" cy="5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p:cNvSpPr>
            <a:spLocks noGrp="1"/>
          </p:cNvSpPr>
          <p:nvPr>
            <p:ph type="sldNum" sz="quarter" idx="4"/>
          </p:nvPr>
        </p:nvSpPr>
        <p:spPr>
          <a:xfrm>
            <a:off x="10566400" y="6383180"/>
            <a:ext cx="1016000" cy="246221"/>
          </a:xfrm>
          <a:prstGeom prst="rect">
            <a:avLst/>
          </a:prstGeom>
        </p:spPr>
        <p:txBody>
          <a:bodyPr/>
          <a:lstStyle>
            <a:lvl1pPr algn="r">
              <a:defRPr sz="1000">
                <a:latin typeface="Arial Rounded MT Bold" panose="020F0704030504030204" pitchFamily="34" charset="0"/>
              </a:defRPr>
            </a:lvl1pPr>
          </a:lstStyle>
          <a:p>
            <a:fld id="{B6761BED-127F-4714-AE70-548270172845}" type="slidenum">
              <a:rPr lang="en-US" smtClean="0">
                <a:solidFill>
                  <a:schemeClr val="bg1">
                    <a:lumMod val="65000"/>
                  </a:schemeClr>
                </a:solidFill>
              </a:rPr>
              <a:pPr/>
              <a:t>‹#›</a:t>
            </a:fld>
            <a:endParaRPr lang="en-US" dirty="0">
              <a:solidFill>
                <a:schemeClr val="bg1">
                  <a:lumMod val="65000"/>
                </a:schemeClr>
              </a:solidFill>
            </a:endParaRPr>
          </a:p>
        </p:txBody>
      </p:sp>
    </p:spTree>
    <p:extLst>
      <p:ext uri="{BB962C8B-B14F-4D97-AF65-F5344CB8AC3E}">
        <p14:creationId xmlns:p14="http://schemas.microsoft.com/office/powerpoint/2010/main" val="761266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opt3">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0566400" y="6383180"/>
            <a:ext cx="1016000" cy="246221"/>
          </a:xfrm>
          <a:prstGeom prst="rect">
            <a:avLst/>
          </a:prstGeom>
        </p:spPr>
        <p:txBody>
          <a:bodyPr/>
          <a:lstStyle>
            <a:lvl1pPr algn="r">
              <a:defRPr sz="1000">
                <a:latin typeface="Arial Rounded MT Bold" panose="020F0704030504030204" pitchFamily="34" charset="0"/>
              </a:defRPr>
            </a:lvl1pPr>
          </a:lstStyle>
          <a:p>
            <a:fld id="{B6761BED-127F-4714-AE70-548270172845}" type="slidenum">
              <a:rPr lang="en-US" smtClean="0">
                <a:solidFill>
                  <a:schemeClr val="bg1">
                    <a:lumMod val="65000"/>
                  </a:schemeClr>
                </a:solidFill>
              </a:rPr>
              <a:pPr/>
              <a:t>‹#›</a:t>
            </a:fld>
            <a:endParaRPr lang="en-US" dirty="0">
              <a:solidFill>
                <a:schemeClr val="bg1">
                  <a:lumMod val="65000"/>
                </a:schemeClr>
              </a:solidFill>
            </a:endParaRPr>
          </a:p>
        </p:txBody>
      </p:sp>
      <p:sp>
        <p:nvSpPr>
          <p:cNvPr id="8" name="Title 1"/>
          <p:cNvSpPr>
            <a:spLocks noGrp="1"/>
          </p:cNvSpPr>
          <p:nvPr>
            <p:ph type="title"/>
          </p:nvPr>
        </p:nvSpPr>
        <p:spPr>
          <a:xfrm>
            <a:off x="609600" y="152400"/>
            <a:ext cx="10972800" cy="792162"/>
          </a:xfrm>
        </p:spPr>
        <p:txBody>
          <a:bodyPr anchor="b" anchorCtr="0">
            <a:noAutofit/>
          </a:bodyPr>
          <a:lstStyle>
            <a:lvl1pPr algn="l">
              <a:defRPr sz="2800">
                <a:solidFill>
                  <a:srgbClr val="00A94F"/>
                </a:solidFill>
                <a:latin typeface="Arial Rounded MT Bold" panose="020F0704030504030204" pitchFamily="34" charset="0"/>
              </a:defRPr>
            </a:lvl1pPr>
          </a:lstStyle>
          <a:p>
            <a:r>
              <a:rPr lang="en-US"/>
              <a:t>Click to edit Master title style</a:t>
            </a:r>
            <a:endParaRPr lang="en-US" dirty="0"/>
          </a:p>
        </p:txBody>
      </p:sp>
      <p:sp>
        <p:nvSpPr>
          <p:cNvPr id="9" name="Content Placeholder 2"/>
          <p:cNvSpPr>
            <a:spLocks noGrp="1"/>
          </p:cNvSpPr>
          <p:nvPr>
            <p:ph idx="1"/>
          </p:nvPr>
        </p:nvSpPr>
        <p:spPr>
          <a:xfrm>
            <a:off x="609600" y="1173162"/>
            <a:ext cx="10972800" cy="5075238"/>
          </a:xfrm>
        </p:spPr>
        <p:txBody>
          <a:bodyPr>
            <a:noAutofit/>
          </a:bodyPr>
          <a:lstStyle>
            <a:lvl1pPr>
              <a:defRPr sz="2400">
                <a:solidFill>
                  <a:schemeClr val="tx1"/>
                </a:solidFill>
              </a:defRPr>
            </a:lvl1pPr>
            <a:lvl2pPr>
              <a:defRPr sz="2400">
                <a:solidFill>
                  <a:schemeClr val="tx1"/>
                </a:solidFill>
              </a:defRPr>
            </a:lvl2pPr>
            <a:lvl3pPr>
              <a:defRPr sz="2400">
                <a:solidFill>
                  <a:schemeClr val="tx1"/>
                </a:solidFill>
              </a:defRPr>
            </a:lvl3pPr>
            <a:lvl4pPr>
              <a:defRPr sz="2400">
                <a:solidFill>
                  <a:schemeClr val="tx1"/>
                </a:solidFill>
              </a:defRPr>
            </a:lvl4pPr>
            <a:lvl5pP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833" y="1028701"/>
            <a:ext cx="10727267" cy="5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10397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914400" y="2130426"/>
            <a:ext cx="10363200" cy="1470025"/>
          </a:xfrm>
        </p:spPr>
        <p:txBody>
          <a:bodyPr anchor="b" anchorCtr="0">
            <a:noAutofit/>
          </a:bodyPr>
          <a:lstStyle>
            <a:lvl1pPr algn="l">
              <a:defRPr sz="2800">
                <a:solidFill>
                  <a:srgbClr val="00A94F"/>
                </a:solidFill>
                <a:latin typeface="Arial Rounded MT Bold" panose="020F0704030504030204" pitchFamily="34" charset="0"/>
              </a:defRPr>
            </a:lvl1pPr>
          </a:lstStyle>
          <a:p>
            <a:r>
              <a:rPr lang="en-US" dirty="0"/>
              <a:t>Divider slide</a:t>
            </a:r>
          </a:p>
        </p:txBody>
      </p:sp>
      <p:sp>
        <p:nvSpPr>
          <p:cNvPr id="9" name="Subtitle 2"/>
          <p:cNvSpPr>
            <a:spLocks noGrp="1"/>
          </p:cNvSpPr>
          <p:nvPr>
            <p:ph type="subTitle" idx="1" hasCustomPrompt="1"/>
          </p:nvPr>
        </p:nvSpPr>
        <p:spPr>
          <a:xfrm>
            <a:off x="914400" y="3886200"/>
            <a:ext cx="10363200" cy="1371600"/>
          </a:xfrm>
        </p:spPr>
        <p:txBody>
          <a:bodyPr>
            <a:noAutofit/>
          </a:bodyPr>
          <a:lstStyle>
            <a:lvl1pPr marL="0" indent="0" algn="l">
              <a:buNone/>
              <a:defRPr sz="2400" b="1">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here</a:t>
            </a:r>
          </a:p>
        </p:txBody>
      </p:sp>
      <p:sp>
        <p:nvSpPr>
          <p:cNvPr id="11" name="object 2"/>
          <p:cNvSpPr/>
          <p:nvPr/>
        </p:nvSpPr>
        <p:spPr>
          <a:xfrm>
            <a:off x="494490" y="6385280"/>
            <a:ext cx="11203093" cy="113664"/>
          </a:xfrm>
          <a:custGeom>
            <a:avLst/>
            <a:gdLst/>
            <a:ahLst/>
            <a:cxnLst/>
            <a:rect l="l" t="t" r="r" b="b"/>
            <a:pathLst>
              <a:path w="8402320" h="113664">
                <a:moveTo>
                  <a:pt x="56565" y="0"/>
                </a:moveTo>
                <a:lnTo>
                  <a:pt x="34975" y="4398"/>
                </a:lnTo>
                <a:lnTo>
                  <a:pt x="16948" y="16408"/>
                </a:lnTo>
                <a:lnTo>
                  <a:pt x="4587" y="34247"/>
                </a:lnTo>
                <a:lnTo>
                  <a:pt x="0" y="56133"/>
                </a:lnTo>
                <a:lnTo>
                  <a:pt x="0" y="56997"/>
                </a:lnTo>
                <a:lnTo>
                  <a:pt x="4466" y="78884"/>
                </a:lnTo>
                <a:lnTo>
                  <a:pt x="16624" y="96723"/>
                </a:lnTo>
                <a:lnTo>
                  <a:pt x="34611" y="108732"/>
                </a:lnTo>
                <a:lnTo>
                  <a:pt x="56565" y="113131"/>
                </a:lnTo>
                <a:lnTo>
                  <a:pt x="78520" y="108732"/>
                </a:lnTo>
                <a:lnTo>
                  <a:pt x="96507" y="96723"/>
                </a:lnTo>
                <a:lnTo>
                  <a:pt x="108665" y="78884"/>
                </a:lnTo>
                <a:lnTo>
                  <a:pt x="113131" y="56997"/>
                </a:lnTo>
                <a:lnTo>
                  <a:pt x="113131" y="56133"/>
                </a:lnTo>
                <a:lnTo>
                  <a:pt x="108483" y="34247"/>
                </a:lnTo>
                <a:lnTo>
                  <a:pt x="96021" y="16408"/>
                </a:lnTo>
                <a:lnTo>
                  <a:pt x="77973" y="4398"/>
                </a:lnTo>
                <a:lnTo>
                  <a:pt x="56565" y="0"/>
                </a:lnTo>
                <a:close/>
              </a:path>
              <a:path w="8402320" h="113664">
                <a:moveTo>
                  <a:pt x="315595" y="0"/>
                </a:moveTo>
                <a:lnTo>
                  <a:pt x="294005" y="4398"/>
                </a:lnTo>
                <a:lnTo>
                  <a:pt x="275977" y="16408"/>
                </a:lnTo>
                <a:lnTo>
                  <a:pt x="263617" y="34247"/>
                </a:lnTo>
                <a:lnTo>
                  <a:pt x="259029" y="56133"/>
                </a:lnTo>
                <a:lnTo>
                  <a:pt x="259029" y="56997"/>
                </a:lnTo>
                <a:lnTo>
                  <a:pt x="263495" y="78884"/>
                </a:lnTo>
                <a:lnTo>
                  <a:pt x="275653" y="96723"/>
                </a:lnTo>
                <a:lnTo>
                  <a:pt x="293640" y="108732"/>
                </a:lnTo>
                <a:lnTo>
                  <a:pt x="315595" y="113131"/>
                </a:lnTo>
                <a:lnTo>
                  <a:pt x="337549" y="108732"/>
                </a:lnTo>
                <a:lnTo>
                  <a:pt x="355536" y="96723"/>
                </a:lnTo>
                <a:lnTo>
                  <a:pt x="367694" y="78884"/>
                </a:lnTo>
                <a:lnTo>
                  <a:pt x="372160" y="56997"/>
                </a:lnTo>
                <a:lnTo>
                  <a:pt x="372160" y="56133"/>
                </a:lnTo>
                <a:lnTo>
                  <a:pt x="367512" y="34247"/>
                </a:lnTo>
                <a:lnTo>
                  <a:pt x="355050" y="16408"/>
                </a:lnTo>
                <a:lnTo>
                  <a:pt x="337002" y="4398"/>
                </a:lnTo>
                <a:lnTo>
                  <a:pt x="315595" y="0"/>
                </a:lnTo>
                <a:close/>
              </a:path>
              <a:path w="8402320" h="113664">
                <a:moveTo>
                  <a:pt x="574636" y="0"/>
                </a:moveTo>
                <a:lnTo>
                  <a:pt x="553046" y="4398"/>
                </a:lnTo>
                <a:lnTo>
                  <a:pt x="535019" y="16408"/>
                </a:lnTo>
                <a:lnTo>
                  <a:pt x="522658" y="34247"/>
                </a:lnTo>
                <a:lnTo>
                  <a:pt x="518071" y="56133"/>
                </a:lnTo>
                <a:lnTo>
                  <a:pt x="518071" y="56997"/>
                </a:lnTo>
                <a:lnTo>
                  <a:pt x="522537" y="78884"/>
                </a:lnTo>
                <a:lnTo>
                  <a:pt x="534695" y="96723"/>
                </a:lnTo>
                <a:lnTo>
                  <a:pt x="552682" y="108732"/>
                </a:lnTo>
                <a:lnTo>
                  <a:pt x="574636" y="113131"/>
                </a:lnTo>
                <a:lnTo>
                  <a:pt x="596591" y="108732"/>
                </a:lnTo>
                <a:lnTo>
                  <a:pt x="614578" y="96723"/>
                </a:lnTo>
                <a:lnTo>
                  <a:pt x="626736" y="78884"/>
                </a:lnTo>
                <a:lnTo>
                  <a:pt x="631202" y="56997"/>
                </a:lnTo>
                <a:lnTo>
                  <a:pt x="631202" y="56133"/>
                </a:lnTo>
                <a:lnTo>
                  <a:pt x="626554" y="34247"/>
                </a:lnTo>
                <a:lnTo>
                  <a:pt x="614092" y="16408"/>
                </a:lnTo>
                <a:lnTo>
                  <a:pt x="596044" y="4398"/>
                </a:lnTo>
                <a:lnTo>
                  <a:pt x="574636" y="0"/>
                </a:lnTo>
                <a:close/>
              </a:path>
              <a:path w="8402320" h="113664">
                <a:moveTo>
                  <a:pt x="833666" y="0"/>
                </a:moveTo>
                <a:lnTo>
                  <a:pt x="812076" y="4398"/>
                </a:lnTo>
                <a:lnTo>
                  <a:pt x="794048" y="16408"/>
                </a:lnTo>
                <a:lnTo>
                  <a:pt x="781688" y="34247"/>
                </a:lnTo>
                <a:lnTo>
                  <a:pt x="777100" y="56133"/>
                </a:lnTo>
                <a:lnTo>
                  <a:pt x="777100" y="56997"/>
                </a:lnTo>
                <a:lnTo>
                  <a:pt x="781566" y="78884"/>
                </a:lnTo>
                <a:lnTo>
                  <a:pt x="793724" y="96723"/>
                </a:lnTo>
                <a:lnTo>
                  <a:pt x="811711" y="108732"/>
                </a:lnTo>
                <a:lnTo>
                  <a:pt x="833666" y="113131"/>
                </a:lnTo>
                <a:lnTo>
                  <a:pt x="855620" y="108732"/>
                </a:lnTo>
                <a:lnTo>
                  <a:pt x="873607" y="96723"/>
                </a:lnTo>
                <a:lnTo>
                  <a:pt x="885765" y="78884"/>
                </a:lnTo>
                <a:lnTo>
                  <a:pt x="890231" y="56997"/>
                </a:lnTo>
                <a:lnTo>
                  <a:pt x="890231" y="56133"/>
                </a:lnTo>
                <a:lnTo>
                  <a:pt x="885583" y="34247"/>
                </a:lnTo>
                <a:lnTo>
                  <a:pt x="873121" y="16408"/>
                </a:lnTo>
                <a:lnTo>
                  <a:pt x="855073" y="4398"/>
                </a:lnTo>
                <a:lnTo>
                  <a:pt x="833666" y="0"/>
                </a:lnTo>
                <a:close/>
              </a:path>
              <a:path w="8402320" h="113664">
                <a:moveTo>
                  <a:pt x="1092708" y="0"/>
                </a:moveTo>
                <a:lnTo>
                  <a:pt x="1071118" y="4398"/>
                </a:lnTo>
                <a:lnTo>
                  <a:pt x="1053090" y="16408"/>
                </a:lnTo>
                <a:lnTo>
                  <a:pt x="1040730" y="34247"/>
                </a:lnTo>
                <a:lnTo>
                  <a:pt x="1036142" y="56133"/>
                </a:lnTo>
                <a:lnTo>
                  <a:pt x="1036142" y="56997"/>
                </a:lnTo>
                <a:lnTo>
                  <a:pt x="1040608" y="78884"/>
                </a:lnTo>
                <a:lnTo>
                  <a:pt x="1052766" y="96723"/>
                </a:lnTo>
                <a:lnTo>
                  <a:pt x="1070753" y="108732"/>
                </a:lnTo>
                <a:lnTo>
                  <a:pt x="1092708" y="113131"/>
                </a:lnTo>
                <a:lnTo>
                  <a:pt x="1114662" y="108732"/>
                </a:lnTo>
                <a:lnTo>
                  <a:pt x="1132649" y="96723"/>
                </a:lnTo>
                <a:lnTo>
                  <a:pt x="1144807" y="78884"/>
                </a:lnTo>
                <a:lnTo>
                  <a:pt x="1149273" y="56997"/>
                </a:lnTo>
                <a:lnTo>
                  <a:pt x="1149273" y="56133"/>
                </a:lnTo>
                <a:lnTo>
                  <a:pt x="1144625" y="34247"/>
                </a:lnTo>
                <a:lnTo>
                  <a:pt x="1132163" y="16408"/>
                </a:lnTo>
                <a:lnTo>
                  <a:pt x="1114115" y="4398"/>
                </a:lnTo>
                <a:lnTo>
                  <a:pt x="1092708" y="0"/>
                </a:lnTo>
                <a:close/>
              </a:path>
              <a:path w="8402320" h="113664">
                <a:moveTo>
                  <a:pt x="1351737" y="0"/>
                </a:moveTo>
                <a:lnTo>
                  <a:pt x="1330147" y="4398"/>
                </a:lnTo>
                <a:lnTo>
                  <a:pt x="1312119" y="16408"/>
                </a:lnTo>
                <a:lnTo>
                  <a:pt x="1299759" y="34247"/>
                </a:lnTo>
                <a:lnTo>
                  <a:pt x="1295171" y="56133"/>
                </a:lnTo>
                <a:lnTo>
                  <a:pt x="1295171" y="56997"/>
                </a:lnTo>
                <a:lnTo>
                  <a:pt x="1299637" y="78884"/>
                </a:lnTo>
                <a:lnTo>
                  <a:pt x="1311795" y="96723"/>
                </a:lnTo>
                <a:lnTo>
                  <a:pt x="1329782" y="108732"/>
                </a:lnTo>
                <a:lnTo>
                  <a:pt x="1351737" y="113131"/>
                </a:lnTo>
                <a:lnTo>
                  <a:pt x="1373691" y="108732"/>
                </a:lnTo>
                <a:lnTo>
                  <a:pt x="1391678" y="96723"/>
                </a:lnTo>
                <a:lnTo>
                  <a:pt x="1403836" y="78884"/>
                </a:lnTo>
                <a:lnTo>
                  <a:pt x="1408303" y="56997"/>
                </a:lnTo>
                <a:lnTo>
                  <a:pt x="1408303" y="56133"/>
                </a:lnTo>
                <a:lnTo>
                  <a:pt x="1403654" y="34247"/>
                </a:lnTo>
                <a:lnTo>
                  <a:pt x="1391192" y="16408"/>
                </a:lnTo>
                <a:lnTo>
                  <a:pt x="1373145" y="4398"/>
                </a:lnTo>
                <a:lnTo>
                  <a:pt x="1351737" y="0"/>
                </a:lnTo>
                <a:close/>
              </a:path>
              <a:path w="8402320" h="113664">
                <a:moveTo>
                  <a:pt x="1610779" y="0"/>
                </a:moveTo>
                <a:lnTo>
                  <a:pt x="1589189" y="4398"/>
                </a:lnTo>
                <a:lnTo>
                  <a:pt x="1571161" y="16408"/>
                </a:lnTo>
                <a:lnTo>
                  <a:pt x="1558801" y="34247"/>
                </a:lnTo>
                <a:lnTo>
                  <a:pt x="1554213" y="56133"/>
                </a:lnTo>
                <a:lnTo>
                  <a:pt x="1554213" y="56997"/>
                </a:lnTo>
                <a:lnTo>
                  <a:pt x="1558679" y="78884"/>
                </a:lnTo>
                <a:lnTo>
                  <a:pt x="1570837" y="96723"/>
                </a:lnTo>
                <a:lnTo>
                  <a:pt x="1588824" y="108732"/>
                </a:lnTo>
                <a:lnTo>
                  <a:pt x="1610779" y="113131"/>
                </a:lnTo>
                <a:lnTo>
                  <a:pt x="1632733" y="108732"/>
                </a:lnTo>
                <a:lnTo>
                  <a:pt x="1650720" y="96723"/>
                </a:lnTo>
                <a:lnTo>
                  <a:pt x="1662878" y="78884"/>
                </a:lnTo>
                <a:lnTo>
                  <a:pt x="1667344" y="56997"/>
                </a:lnTo>
                <a:lnTo>
                  <a:pt x="1667344" y="56133"/>
                </a:lnTo>
                <a:lnTo>
                  <a:pt x="1662696" y="34247"/>
                </a:lnTo>
                <a:lnTo>
                  <a:pt x="1650234" y="16408"/>
                </a:lnTo>
                <a:lnTo>
                  <a:pt x="1632186" y="4398"/>
                </a:lnTo>
                <a:lnTo>
                  <a:pt x="1610779" y="0"/>
                </a:lnTo>
                <a:close/>
              </a:path>
              <a:path w="8402320" h="113664">
                <a:moveTo>
                  <a:pt x="1869808" y="0"/>
                </a:moveTo>
                <a:lnTo>
                  <a:pt x="1848218" y="4398"/>
                </a:lnTo>
                <a:lnTo>
                  <a:pt x="1830190" y="16408"/>
                </a:lnTo>
                <a:lnTo>
                  <a:pt x="1817830" y="34247"/>
                </a:lnTo>
                <a:lnTo>
                  <a:pt x="1813242" y="56133"/>
                </a:lnTo>
                <a:lnTo>
                  <a:pt x="1813242" y="56997"/>
                </a:lnTo>
                <a:lnTo>
                  <a:pt x="1817708" y="78884"/>
                </a:lnTo>
                <a:lnTo>
                  <a:pt x="1829866" y="96723"/>
                </a:lnTo>
                <a:lnTo>
                  <a:pt x="1847853" y="108732"/>
                </a:lnTo>
                <a:lnTo>
                  <a:pt x="1869808" y="113131"/>
                </a:lnTo>
                <a:lnTo>
                  <a:pt x="1891762" y="108732"/>
                </a:lnTo>
                <a:lnTo>
                  <a:pt x="1909749" y="96723"/>
                </a:lnTo>
                <a:lnTo>
                  <a:pt x="1921907" y="78884"/>
                </a:lnTo>
                <a:lnTo>
                  <a:pt x="1926374" y="56997"/>
                </a:lnTo>
                <a:lnTo>
                  <a:pt x="1926374" y="56133"/>
                </a:lnTo>
                <a:lnTo>
                  <a:pt x="1921725" y="34247"/>
                </a:lnTo>
                <a:lnTo>
                  <a:pt x="1909264" y="16408"/>
                </a:lnTo>
                <a:lnTo>
                  <a:pt x="1891216" y="4398"/>
                </a:lnTo>
                <a:lnTo>
                  <a:pt x="1869808" y="0"/>
                </a:lnTo>
                <a:close/>
              </a:path>
              <a:path w="8402320" h="113664">
                <a:moveTo>
                  <a:pt x="2128850" y="0"/>
                </a:moveTo>
                <a:lnTo>
                  <a:pt x="2107260" y="4398"/>
                </a:lnTo>
                <a:lnTo>
                  <a:pt x="2089232" y="16408"/>
                </a:lnTo>
                <a:lnTo>
                  <a:pt x="2076872" y="34247"/>
                </a:lnTo>
                <a:lnTo>
                  <a:pt x="2072284" y="56133"/>
                </a:lnTo>
                <a:lnTo>
                  <a:pt x="2072284" y="56997"/>
                </a:lnTo>
                <a:lnTo>
                  <a:pt x="2076750" y="78884"/>
                </a:lnTo>
                <a:lnTo>
                  <a:pt x="2088908" y="96723"/>
                </a:lnTo>
                <a:lnTo>
                  <a:pt x="2106895" y="108732"/>
                </a:lnTo>
                <a:lnTo>
                  <a:pt x="2128850" y="113131"/>
                </a:lnTo>
                <a:lnTo>
                  <a:pt x="2150804" y="108732"/>
                </a:lnTo>
                <a:lnTo>
                  <a:pt x="2168791" y="96723"/>
                </a:lnTo>
                <a:lnTo>
                  <a:pt x="2180949" y="78884"/>
                </a:lnTo>
                <a:lnTo>
                  <a:pt x="2185416" y="56997"/>
                </a:lnTo>
                <a:lnTo>
                  <a:pt x="2185416" y="56133"/>
                </a:lnTo>
                <a:lnTo>
                  <a:pt x="2180767" y="34247"/>
                </a:lnTo>
                <a:lnTo>
                  <a:pt x="2168305" y="16408"/>
                </a:lnTo>
                <a:lnTo>
                  <a:pt x="2150258" y="4398"/>
                </a:lnTo>
                <a:lnTo>
                  <a:pt x="2128850" y="0"/>
                </a:lnTo>
                <a:close/>
              </a:path>
              <a:path w="8402320" h="113664">
                <a:moveTo>
                  <a:pt x="2387879" y="0"/>
                </a:moveTo>
                <a:lnTo>
                  <a:pt x="2366289" y="4398"/>
                </a:lnTo>
                <a:lnTo>
                  <a:pt x="2348261" y="16408"/>
                </a:lnTo>
                <a:lnTo>
                  <a:pt x="2335901" y="34247"/>
                </a:lnTo>
                <a:lnTo>
                  <a:pt x="2331313" y="56133"/>
                </a:lnTo>
                <a:lnTo>
                  <a:pt x="2331313" y="56997"/>
                </a:lnTo>
                <a:lnTo>
                  <a:pt x="2335780" y="78884"/>
                </a:lnTo>
                <a:lnTo>
                  <a:pt x="2347937" y="96723"/>
                </a:lnTo>
                <a:lnTo>
                  <a:pt x="2365925" y="108732"/>
                </a:lnTo>
                <a:lnTo>
                  <a:pt x="2387879" y="113131"/>
                </a:lnTo>
                <a:lnTo>
                  <a:pt x="2409833" y="108732"/>
                </a:lnTo>
                <a:lnTo>
                  <a:pt x="2427820" y="96723"/>
                </a:lnTo>
                <a:lnTo>
                  <a:pt x="2439978" y="78884"/>
                </a:lnTo>
                <a:lnTo>
                  <a:pt x="2444445" y="56997"/>
                </a:lnTo>
                <a:lnTo>
                  <a:pt x="2444445" y="56133"/>
                </a:lnTo>
                <a:lnTo>
                  <a:pt x="2439796" y="34247"/>
                </a:lnTo>
                <a:lnTo>
                  <a:pt x="2427335" y="16408"/>
                </a:lnTo>
                <a:lnTo>
                  <a:pt x="2409287" y="4398"/>
                </a:lnTo>
                <a:lnTo>
                  <a:pt x="2387879" y="0"/>
                </a:lnTo>
                <a:close/>
              </a:path>
              <a:path w="8402320" h="113664">
                <a:moveTo>
                  <a:pt x="2646921" y="0"/>
                </a:moveTo>
                <a:lnTo>
                  <a:pt x="2625331" y="4398"/>
                </a:lnTo>
                <a:lnTo>
                  <a:pt x="2607303" y="16408"/>
                </a:lnTo>
                <a:lnTo>
                  <a:pt x="2594943" y="34247"/>
                </a:lnTo>
                <a:lnTo>
                  <a:pt x="2590355" y="56133"/>
                </a:lnTo>
                <a:lnTo>
                  <a:pt x="2590355" y="56997"/>
                </a:lnTo>
                <a:lnTo>
                  <a:pt x="2594821" y="78884"/>
                </a:lnTo>
                <a:lnTo>
                  <a:pt x="2606979" y="96723"/>
                </a:lnTo>
                <a:lnTo>
                  <a:pt x="2624966" y="108732"/>
                </a:lnTo>
                <a:lnTo>
                  <a:pt x="2646921" y="113131"/>
                </a:lnTo>
                <a:lnTo>
                  <a:pt x="2668875" y="108732"/>
                </a:lnTo>
                <a:lnTo>
                  <a:pt x="2686862" y="96723"/>
                </a:lnTo>
                <a:lnTo>
                  <a:pt x="2699020" y="78884"/>
                </a:lnTo>
                <a:lnTo>
                  <a:pt x="2703487" y="56997"/>
                </a:lnTo>
                <a:lnTo>
                  <a:pt x="2703487" y="56133"/>
                </a:lnTo>
                <a:lnTo>
                  <a:pt x="2698838" y="34247"/>
                </a:lnTo>
                <a:lnTo>
                  <a:pt x="2686377" y="16408"/>
                </a:lnTo>
                <a:lnTo>
                  <a:pt x="2668329" y="4398"/>
                </a:lnTo>
                <a:lnTo>
                  <a:pt x="2646921" y="0"/>
                </a:lnTo>
                <a:close/>
              </a:path>
              <a:path w="8402320" h="113664">
                <a:moveTo>
                  <a:pt x="2905950" y="0"/>
                </a:moveTo>
                <a:lnTo>
                  <a:pt x="2884360" y="4398"/>
                </a:lnTo>
                <a:lnTo>
                  <a:pt x="2866332" y="16408"/>
                </a:lnTo>
                <a:lnTo>
                  <a:pt x="2853972" y="34247"/>
                </a:lnTo>
                <a:lnTo>
                  <a:pt x="2849384" y="56133"/>
                </a:lnTo>
                <a:lnTo>
                  <a:pt x="2849384" y="56997"/>
                </a:lnTo>
                <a:lnTo>
                  <a:pt x="2853851" y="78884"/>
                </a:lnTo>
                <a:lnTo>
                  <a:pt x="2866009" y="96723"/>
                </a:lnTo>
                <a:lnTo>
                  <a:pt x="2883996" y="108732"/>
                </a:lnTo>
                <a:lnTo>
                  <a:pt x="2905950" y="113131"/>
                </a:lnTo>
                <a:lnTo>
                  <a:pt x="2927904" y="108732"/>
                </a:lnTo>
                <a:lnTo>
                  <a:pt x="2945892" y="96723"/>
                </a:lnTo>
                <a:lnTo>
                  <a:pt x="2958049" y="78884"/>
                </a:lnTo>
                <a:lnTo>
                  <a:pt x="2962516" y="56997"/>
                </a:lnTo>
                <a:lnTo>
                  <a:pt x="2962516" y="56133"/>
                </a:lnTo>
                <a:lnTo>
                  <a:pt x="2957867" y="34247"/>
                </a:lnTo>
                <a:lnTo>
                  <a:pt x="2945406" y="16408"/>
                </a:lnTo>
                <a:lnTo>
                  <a:pt x="2927358" y="4398"/>
                </a:lnTo>
                <a:lnTo>
                  <a:pt x="2905950" y="0"/>
                </a:lnTo>
                <a:close/>
              </a:path>
              <a:path w="8402320" h="113664">
                <a:moveTo>
                  <a:pt x="3164992" y="0"/>
                </a:moveTo>
                <a:lnTo>
                  <a:pt x="3143402" y="4398"/>
                </a:lnTo>
                <a:lnTo>
                  <a:pt x="3125374" y="16408"/>
                </a:lnTo>
                <a:lnTo>
                  <a:pt x="3113014" y="34247"/>
                </a:lnTo>
                <a:lnTo>
                  <a:pt x="3108426" y="56133"/>
                </a:lnTo>
                <a:lnTo>
                  <a:pt x="3108426" y="56997"/>
                </a:lnTo>
                <a:lnTo>
                  <a:pt x="3112893" y="78884"/>
                </a:lnTo>
                <a:lnTo>
                  <a:pt x="3125050" y="96723"/>
                </a:lnTo>
                <a:lnTo>
                  <a:pt x="3143038" y="108732"/>
                </a:lnTo>
                <a:lnTo>
                  <a:pt x="3164992" y="113131"/>
                </a:lnTo>
                <a:lnTo>
                  <a:pt x="3186946" y="108732"/>
                </a:lnTo>
                <a:lnTo>
                  <a:pt x="3204933" y="96723"/>
                </a:lnTo>
                <a:lnTo>
                  <a:pt x="3217091" y="78884"/>
                </a:lnTo>
                <a:lnTo>
                  <a:pt x="3221558" y="56997"/>
                </a:lnTo>
                <a:lnTo>
                  <a:pt x="3221558" y="56133"/>
                </a:lnTo>
                <a:lnTo>
                  <a:pt x="3216909" y="34247"/>
                </a:lnTo>
                <a:lnTo>
                  <a:pt x="3204448" y="16408"/>
                </a:lnTo>
                <a:lnTo>
                  <a:pt x="3186400" y="4398"/>
                </a:lnTo>
                <a:lnTo>
                  <a:pt x="3164992" y="0"/>
                </a:lnTo>
                <a:close/>
              </a:path>
              <a:path w="8402320" h="113664">
                <a:moveTo>
                  <a:pt x="3424021" y="0"/>
                </a:moveTo>
                <a:lnTo>
                  <a:pt x="3402431" y="4398"/>
                </a:lnTo>
                <a:lnTo>
                  <a:pt x="3384403" y="16408"/>
                </a:lnTo>
                <a:lnTo>
                  <a:pt x="3372043" y="34247"/>
                </a:lnTo>
                <a:lnTo>
                  <a:pt x="3367455" y="56133"/>
                </a:lnTo>
                <a:lnTo>
                  <a:pt x="3367455" y="56997"/>
                </a:lnTo>
                <a:lnTo>
                  <a:pt x="3371922" y="78884"/>
                </a:lnTo>
                <a:lnTo>
                  <a:pt x="3384080" y="96723"/>
                </a:lnTo>
                <a:lnTo>
                  <a:pt x="3402067" y="108732"/>
                </a:lnTo>
                <a:lnTo>
                  <a:pt x="3424021" y="113131"/>
                </a:lnTo>
                <a:lnTo>
                  <a:pt x="3445975" y="108732"/>
                </a:lnTo>
                <a:lnTo>
                  <a:pt x="3463963" y="96723"/>
                </a:lnTo>
                <a:lnTo>
                  <a:pt x="3476120" y="78884"/>
                </a:lnTo>
                <a:lnTo>
                  <a:pt x="3480587" y="56997"/>
                </a:lnTo>
                <a:lnTo>
                  <a:pt x="3480587" y="56133"/>
                </a:lnTo>
                <a:lnTo>
                  <a:pt x="3475938" y="34247"/>
                </a:lnTo>
                <a:lnTo>
                  <a:pt x="3463477" y="16408"/>
                </a:lnTo>
                <a:lnTo>
                  <a:pt x="3445429" y="4398"/>
                </a:lnTo>
                <a:lnTo>
                  <a:pt x="3424021" y="0"/>
                </a:lnTo>
                <a:close/>
              </a:path>
              <a:path w="8402320" h="113664">
                <a:moveTo>
                  <a:pt x="3683063" y="0"/>
                </a:moveTo>
                <a:lnTo>
                  <a:pt x="3661473" y="4398"/>
                </a:lnTo>
                <a:lnTo>
                  <a:pt x="3643445" y="16408"/>
                </a:lnTo>
                <a:lnTo>
                  <a:pt x="3631085" y="34247"/>
                </a:lnTo>
                <a:lnTo>
                  <a:pt x="3626497" y="56133"/>
                </a:lnTo>
                <a:lnTo>
                  <a:pt x="3626497" y="56997"/>
                </a:lnTo>
                <a:lnTo>
                  <a:pt x="3630964" y="78884"/>
                </a:lnTo>
                <a:lnTo>
                  <a:pt x="3643122" y="96723"/>
                </a:lnTo>
                <a:lnTo>
                  <a:pt x="3661109" y="108732"/>
                </a:lnTo>
                <a:lnTo>
                  <a:pt x="3683063" y="113131"/>
                </a:lnTo>
                <a:lnTo>
                  <a:pt x="3705017" y="108732"/>
                </a:lnTo>
                <a:lnTo>
                  <a:pt x="3723005" y="96723"/>
                </a:lnTo>
                <a:lnTo>
                  <a:pt x="3735162" y="78884"/>
                </a:lnTo>
                <a:lnTo>
                  <a:pt x="3739629" y="56997"/>
                </a:lnTo>
                <a:lnTo>
                  <a:pt x="3739629" y="56133"/>
                </a:lnTo>
                <a:lnTo>
                  <a:pt x="3734980" y="34247"/>
                </a:lnTo>
                <a:lnTo>
                  <a:pt x="3722519" y="16408"/>
                </a:lnTo>
                <a:lnTo>
                  <a:pt x="3704471" y="4398"/>
                </a:lnTo>
                <a:lnTo>
                  <a:pt x="3683063" y="0"/>
                </a:lnTo>
                <a:close/>
              </a:path>
              <a:path w="8402320" h="113664">
                <a:moveTo>
                  <a:pt x="3942092" y="0"/>
                </a:moveTo>
                <a:lnTo>
                  <a:pt x="3920502" y="4398"/>
                </a:lnTo>
                <a:lnTo>
                  <a:pt x="3902475" y="16408"/>
                </a:lnTo>
                <a:lnTo>
                  <a:pt x="3890114" y="34247"/>
                </a:lnTo>
                <a:lnTo>
                  <a:pt x="3885526" y="56133"/>
                </a:lnTo>
                <a:lnTo>
                  <a:pt x="3885526" y="56997"/>
                </a:lnTo>
                <a:lnTo>
                  <a:pt x="3889993" y="78884"/>
                </a:lnTo>
                <a:lnTo>
                  <a:pt x="3902151" y="96723"/>
                </a:lnTo>
                <a:lnTo>
                  <a:pt x="3920138" y="108732"/>
                </a:lnTo>
                <a:lnTo>
                  <a:pt x="3942092" y="113131"/>
                </a:lnTo>
                <a:lnTo>
                  <a:pt x="3964047" y="108732"/>
                </a:lnTo>
                <a:lnTo>
                  <a:pt x="3982034" y="96723"/>
                </a:lnTo>
                <a:lnTo>
                  <a:pt x="3994192" y="78884"/>
                </a:lnTo>
                <a:lnTo>
                  <a:pt x="3998658" y="56997"/>
                </a:lnTo>
                <a:lnTo>
                  <a:pt x="3998658" y="56133"/>
                </a:lnTo>
                <a:lnTo>
                  <a:pt x="3994009" y="34247"/>
                </a:lnTo>
                <a:lnTo>
                  <a:pt x="3981548" y="16408"/>
                </a:lnTo>
                <a:lnTo>
                  <a:pt x="3963500" y="4398"/>
                </a:lnTo>
                <a:lnTo>
                  <a:pt x="3942092" y="0"/>
                </a:lnTo>
                <a:close/>
              </a:path>
              <a:path w="8402320" h="113664">
                <a:moveTo>
                  <a:pt x="4201134" y="0"/>
                </a:moveTo>
                <a:lnTo>
                  <a:pt x="4179544" y="4398"/>
                </a:lnTo>
                <a:lnTo>
                  <a:pt x="4161516" y="16408"/>
                </a:lnTo>
                <a:lnTo>
                  <a:pt x="4149156" y="34247"/>
                </a:lnTo>
                <a:lnTo>
                  <a:pt x="4144568" y="56133"/>
                </a:lnTo>
                <a:lnTo>
                  <a:pt x="4144568" y="56997"/>
                </a:lnTo>
                <a:lnTo>
                  <a:pt x="4149035" y="78884"/>
                </a:lnTo>
                <a:lnTo>
                  <a:pt x="4161193" y="96723"/>
                </a:lnTo>
                <a:lnTo>
                  <a:pt x="4179180" y="108732"/>
                </a:lnTo>
                <a:lnTo>
                  <a:pt x="4201134" y="113131"/>
                </a:lnTo>
                <a:lnTo>
                  <a:pt x="4223088" y="108732"/>
                </a:lnTo>
                <a:lnTo>
                  <a:pt x="4241076" y="96723"/>
                </a:lnTo>
                <a:lnTo>
                  <a:pt x="4253233" y="78884"/>
                </a:lnTo>
                <a:lnTo>
                  <a:pt x="4257700" y="56997"/>
                </a:lnTo>
                <a:lnTo>
                  <a:pt x="4257700" y="56133"/>
                </a:lnTo>
                <a:lnTo>
                  <a:pt x="4253051" y="34247"/>
                </a:lnTo>
                <a:lnTo>
                  <a:pt x="4240590" y="16408"/>
                </a:lnTo>
                <a:lnTo>
                  <a:pt x="4222542" y="4398"/>
                </a:lnTo>
                <a:lnTo>
                  <a:pt x="4201134" y="0"/>
                </a:lnTo>
                <a:close/>
              </a:path>
              <a:path w="8402320" h="113664">
                <a:moveTo>
                  <a:pt x="4460163" y="0"/>
                </a:moveTo>
                <a:lnTo>
                  <a:pt x="4438573" y="4398"/>
                </a:lnTo>
                <a:lnTo>
                  <a:pt x="4420546" y="16408"/>
                </a:lnTo>
                <a:lnTo>
                  <a:pt x="4408185" y="34247"/>
                </a:lnTo>
                <a:lnTo>
                  <a:pt x="4403598" y="56133"/>
                </a:lnTo>
                <a:lnTo>
                  <a:pt x="4403598" y="56997"/>
                </a:lnTo>
                <a:lnTo>
                  <a:pt x="4408064" y="78884"/>
                </a:lnTo>
                <a:lnTo>
                  <a:pt x="4420222" y="96723"/>
                </a:lnTo>
                <a:lnTo>
                  <a:pt x="4438209" y="108732"/>
                </a:lnTo>
                <a:lnTo>
                  <a:pt x="4460163" y="113131"/>
                </a:lnTo>
                <a:lnTo>
                  <a:pt x="4482118" y="108732"/>
                </a:lnTo>
                <a:lnTo>
                  <a:pt x="4500105" y="96723"/>
                </a:lnTo>
                <a:lnTo>
                  <a:pt x="4512263" y="78884"/>
                </a:lnTo>
                <a:lnTo>
                  <a:pt x="4516729" y="56997"/>
                </a:lnTo>
                <a:lnTo>
                  <a:pt x="4516729" y="56133"/>
                </a:lnTo>
                <a:lnTo>
                  <a:pt x="4512081" y="34247"/>
                </a:lnTo>
                <a:lnTo>
                  <a:pt x="4499619" y="16408"/>
                </a:lnTo>
                <a:lnTo>
                  <a:pt x="4481571" y="4398"/>
                </a:lnTo>
                <a:lnTo>
                  <a:pt x="4460163" y="0"/>
                </a:lnTo>
                <a:close/>
              </a:path>
              <a:path w="8402320" h="113664">
                <a:moveTo>
                  <a:pt x="4719205" y="0"/>
                </a:moveTo>
                <a:lnTo>
                  <a:pt x="4697615" y="4398"/>
                </a:lnTo>
                <a:lnTo>
                  <a:pt x="4679588" y="16408"/>
                </a:lnTo>
                <a:lnTo>
                  <a:pt x="4667227" y="34247"/>
                </a:lnTo>
                <a:lnTo>
                  <a:pt x="4662639" y="56133"/>
                </a:lnTo>
                <a:lnTo>
                  <a:pt x="4662639" y="56997"/>
                </a:lnTo>
                <a:lnTo>
                  <a:pt x="4667106" y="78884"/>
                </a:lnTo>
                <a:lnTo>
                  <a:pt x="4679264" y="96723"/>
                </a:lnTo>
                <a:lnTo>
                  <a:pt x="4697251" y="108732"/>
                </a:lnTo>
                <a:lnTo>
                  <a:pt x="4719205" y="113131"/>
                </a:lnTo>
                <a:lnTo>
                  <a:pt x="4741160" y="108732"/>
                </a:lnTo>
                <a:lnTo>
                  <a:pt x="4759147" y="96723"/>
                </a:lnTo>
                <a:lnTo>
                  <a:pt x="4771305" y="78884"/>
                </a:lnTo>
                <a:lnTo>
                  <a:pt x="4775771" y="56997"/>
                </a:lnTo>
                <a:lnTo>
                  <a:pt x="4775771" y="56133"/>
                </a:lnTo>
                <a:lnTo>
                  <a:pt x="4771122" y="34247"/>
                </a:lnTo>
                <a:lnTo>
                  <a:pt x="4758661" y="16408"/>
                </a:lnTo>
                <a:lnTo>
                  <a:pt x="4740613" y="4398"/>
                </a:lnTo>
                <a:lnTo>
                  <a:pt x="4719205" y="0"/>
                </a:lnTo>
                <a:close/>
              </a:path>
              <a:path w="8402320" h="113664">
                <a:moveTo>
                  <a:pt x="4978234" y="0"/>
                </a:moveTo>
                <a:lnTo>
                  <a:pt x="4956644" y="4398"/>
                </a:lnTo>
                <a:lnTo>
                  <a:pt x="4938617" y="16408"/>
                </a:lnTo>
                <a:lnTo>
                  <a:pt x="4926256" y="34247"/>
                </a:lnTo>
                <a:lnTo>
                  <a:pt x="4921669" y="56133"/>
                </a:lnTo>
                <a:lnTo>
                  <a:pt x="4921669" y="56997"/>
                </a:lnTo>
                <a:lnTo>
                  <a:pt x="4926135" y="78884"/>
                </a:lnTo>
                <a:lnTo>
                  <a:pt x="4938293" y="96723"/>
                </a:lnTo>
                <a:lnTo>
                  <a:pt x="4956280" y="108732"/>
                </a:lnTo>
                <a:lnTo>
                  <a:pt x="4978234" y="113131"/>
                </a:lnTo>
                <a:lnTo>
                  <a:pt x="5000189" y="108732"/>
                </a:lnTo>
                <a:lnTo>
                  <a:pt x="5018176" y="96723"/>
                </a:lnTo>
                <a:lnTo>
                  <a:pt x="5030334" y="78884"/>
                </a:lnTo>
                <a:lnTo>
                  <a:pt x="5034800" y="56997"/>
                </a:lnTo>
                <a:lnTo>
                  <a:pt x="5034800" y="56133"/>
                </a:lnTo>
                <a:lnTo>
                  <a:pt x="5030152" y="34247"/>
                </a:lnTo>
                <a:lnTo>
                  <a:pt x="5017690" y="16408"/>
                </a:lnTo>
                <a:lnTo>
                  <a:pt x="4999642" y="4398"/>
                </a:lnTo>
                <a:lnTo>
                  <a:pt x="4978234" y="0"/>
                </a:lnTo>
                <a:close/>
              </a:path>
              <a:path w="8402320" h="113664">
                <a:moveTo>
                  <a:pt x="5237276" y="0"/>
                </a:moveTo>
                <a:lnTo>
                  <a:pt x="5215686" y="4398"/>
                </a:lnTo>
                <a:lnTo>
                  <a:pt x="5197659" y="16408"/>
                </a:lnTo>
                <a:lnTo>
                  <a:pt x="5185298" y="34247"/>
                </a:lnTo>
                <a:lnTo>
                  <a:pt x="5180711" y="56133"/>
                </a:lnTo>
                <a:lnTo>
                  <a:pt x="5180711" y="56997"/>
                </a:lnTo>
                <a:lnTo>
                  <a:pt x="5185177" y="78884"/>
                </a:lnTo>
                <a:lnTo>
                  <a:pt x="5197335" y="96723"/>
                </a:lnTo>
                <a:lnTo>
                  <a:pt x="5215322" y="108732"/>
                </a:lnTo>
                <a:lnTo>
                  <a:pt x="5237276" y="113131"/>
                </a:lnTo>
                <a:lnTo>
                  <a:pt x="5259231" y="108732"/>
                </a:lnTo>
                <a:lnTo>
                  <a:pt x="5277218" y="96723"/>
                </a:lnTo>
                <a:lnTo>
                  <a:pt x="5289376" y="78884"/>
                </a:lnTo>
                <a:lnTo>
                  <a:pt x="5293842" y="56997"/>
                </a:lnTo>
                <a:lnTo>
                  <a:pt x="5293842" y="56133"/>
                </a:lnTo>
                <a:lnTo>
                  <a:pt x="5289194" y="34247"/>
                </a:lnTo>
                <a:lnTo>
                  <a:pt x="5276732" y="16408"/>
                </a:lnTo>
                <a:lnTo>
                  <a:pt x="5258684" y="4398"/>
                </a:lnTo>
                <a:lnTo>
                  <a:pt x="5237276" y="0"/>
                </a:lnTo>
                <a:close/>
              </a:path>
              <a:path w="8402320" h="113664">
                <a:moveTo>
                  <a:pt x="5496306" y="0"/>
                </a:moveTo>
                <a:lnTo>
                  <a:pt x="5474716" y="4398"/>
                </a:lnTo>
                <a:lnTo>
                  <a:pt x="5456688" y="16408"/>
                </a:lnTo>
                <a:lnTo>
                  <a:pt x="5444328" y="34247"/>
                </a:lnTo>
                <a:lnTo>
                  <a:pt x="5439740" y="56133"/>
                </a:lnTo>
                <a:lnTo>
                  <a:pt x="5439740" y="56997"/>
                </a:lnTo>
                <a:lnTo>
                  <a:pt x="5444206" y="78884"/>
                </a:lnTo>
                <a:lnTo>
                  <a:pt x="5456364" y="96723"/>
                </a:lnTo>
                <a:lnTo>
                  <a:pt x="5474351" y="108732"/>
                </a:lnTo>
                <a:lnTo>
                  <a:pt x="5496306" y="113131"/>
                </a:lnTo>
                <a:lnTo>
                  <a:pt x="5518260" y="108732"/>
                </a:lnTo>
                <a:lnTo>
                  <a:pt x="5536247" y="96723"/>
                </a:lnTo>
                <a:lnTo>
                  <a:pt x="5548405" y="78884"/>
                </a:lnTo>
                <a:lnTo>
                  <a:pt x="5552871" y="56997"/>
                </a:lnTo>
                <a:lnTo>
                  <a:pt x="5552871" y="56133"/>
                </a:lnTo>
                <a:lnTo>
                  <a:pt x="5548223" y="34247"/>
                </a:lnTo>
                <a:lnTo>
                  <a:pt x="5535761" y="16408"/>
                </a:lnTo>
                <a:lnTo>
                  <a:pt x="5517713" y="4398"/>
                </a:lnTo>
                <a:lnTo>
                  <a:pt x="5496306" y="0"/>
                </a:lnTo>
                <a:close/>
              </a:path>
              <a:path w="8402320" h="113664">
                <a:moveTo>
                  <a:pt x="5755347" y="0"/>
                </a:moveTo>
                <a:lnTo>
                  <a:pt x="5733757" y="4398"/>
                </a:lnTo>
                <a:lnTo>
                  <a:pt x="5715730" y="16408"/>
                </a:lnTo>
                <a:lnTo>
                  <a:pt x="5703369" y="34247"/>
                </a:lnTo>
                <a:lnTo>
                  <a:pt x="5698782" y="56133"/>
                </a:lnTo>
                <a:lnTo>
                  <a:pt x="5698782" y="56997"/>
                </a:lnTo>
                <a:lnTo>
                  <a:pt x="5703248" y="78884"/>
                </a:lnTo>
                <a:lnTo>
                  <a:pt x="5715406" y="96723"/>
                </a:lnTo>
                <a:lnTo>
                  <a:pt x="5733393" y="108732"/>
                </a:lnTo>
                <a:lnTo>
                  <a:pt x="5755347" y="113131"/>
                </a:lnTo>
                <a:lnTo>
                  <a:pt x="5777302" y="108732"/>
                </a:lnTo>
                <a:lnTo>
                  <a:pt x="5795289" y="96723"/>
                </a:lnTo>
                <a:lnTo>
                  <a:pt x="5807447" y="78884"/>
                </a:lnTo>
                <a:lnTo>
                  <a:pt x="5811913" y="56997"/>
                </a:lnTo>
                <a:lnTo>
                  <a:pt x="5811913" y="56133"/>
                </a:lnTo>
                <a:lnTo>
                  <a:pt x="5807265" y="34247"/>
                </a:lnTo>
                <a:lnTo>
                  <a:pt x="5794803" y="16408"/>
                </a:lnTo>
                <a:lnTo>
                  <a:pt x="5776755" y="4398"/>
                </a:lnTo>
                <a:lnTo>
                  <a:pt x="5755347" y="0"/>
                </a:lnTo>
                <a:close/>
              </a:path>
              <a:path w="8402320" h="113664">
                <a:moveTo>
                  <a:pt x="6014377" y="0"/>
                </a:moveTo>
                <a:lnTo>
                  <a:pt x="5992787" y="4398"/>
                </a:lnTo>
                <a:lnTo>
                  <a:pt x="5974759" y="16408"/>
                </a:lnTo>
                <a:lnTo>
                  <a:pt x="5962399" y="34247"/>
                </a:lnTo>
                <a:lnTo>
                  <a:pt x="5957811" y="56133"/>
                </a:lnTo>
                <a:lnTo>
                  <a:pt x="5957811" y="56997"/>
                </a:lnTo>
                <a:lnTo>
                  <a:pt x="5962277" y="78884"/>
                </a:lnTo>
                <a:lnTo>
                  <a:pt x="5974435" y="96723"/>
                </a:lnTo>
                <a:lnTo>
                  <a:pt x="5992422" y="108732"/>
                </a:lnTo>
                <a:lnTo>
                  <a:pt x="6014377" y="113131"/>
                </a:lnTo>
                <a:lnTo>
                  <a:pt x="6036331" y="108732"/>
                </a:lnTo>
                <a:lnTo>
                  <a:pt x="6054318" y="96723"/>
                </a:lnTo>
                <a:lnTo>
                  <a:pt x="6066476" y="78884"/>
                </a:lnTo>
                <a:lnTo>
                  <a:pt x="6070942" y="56997"/>
                </a:lnTo>
                <a:lnTo>
                  <a:pt x="6070942" y="56133"/>
                </a:lnTo>
                <a:lnTo>
                  <a:pt x="6066294" y="34247"/>
                </a:lnTo>
                <a:lnTo>
                  <a:pt x="6053832" y="16408"/>
                </a:lnTo>
                <a:lnTo>
                  <a:pt x="6035784" y="4398"/>
                </a:lnTo>
                <a:lnTo>
                  <a:pt x="6014377" y="0"/>
                </a:lnTo>
                <a:close/>
              </a:path>
              <a:path w="8402320" h="113664">
                <a:moveTo>
                  <a:pt x="6273419" y="0"/>
                </a:moveTo>
                <a:lnTo>
                  <a:pt x="6251829" y="4398"/>
                </a:lnTo>
                <a:lnTo>
                  <a:pt x="6233801" y="16408"/>
                </a:lnTo>
                <a:lnTo>
                  <a:pt x="6221441" y="34247"/>
                </a:lnTo>
                <a:lnTo>
                  <a:pt x="6216853" y="56133"/>
                </a:lnTo>
                <a:lnTo>
                  <a:pt x="6216853" y="56997"/>
                </a:lnTo>
                <a:lnTo>
                  <a:pt x="6221319" y="78884"/>
                </a:lnTo>
                <a:lnTo>
                  <a:pt x="6233477" y="96723"/>
                </a:lnTo>
                <a:lnTo>
                  <a:pt x="6251464" y="108732"/>
                </a:lnTo>
                <a:lnTo>
                  <a:pt x="6273419" y="113131"/>
                </a:lnTo>
                <a:lnTo>
                  <a:pt x="6295373" y="108732"/>
                </a:lnTo>
                <a:lnTo>
                  <a:pt x="6313360" y="96723"/>
                </a:lnTo>
                <a:lnTo>
                  <a:pt x="6325518" y="78884"/>
                </a:lnTo>
                <a:lnTo>
                  <a:pt x="6329984" y="56997"/>
                </a:lnTo>
                <a:lnTo>
                  <a:pt x="6329984" y="56133"/>
                </a:lnTo>
                <a:lnTo>
                  <a:pt x="6325336" y="34247"/>
                </a:lnTo>
                <a:lnTo>
                  <a:pt x="6312874" y="16408"/>
                </a:lnTo>
                <a:lnTo>
                  <a:pt x="6294826" y="4398"/>
                </a:lnTo>
                <a:lnTo>
                  <a:pt x="6273419" y="0"/>
                </a:lnTo>
                <a:close/>
              </a:path>
              <a:path w="8402320" h="113664">
                <a:moveTo>
                  <a:pt x="6532448" y="0"/>
                </a:moveTo>
                <a:lnTo>
                  <a:pt x="6510858" y="4398"/>
                </a:lnTo>
                <a:lnTo>
                  <a:pt x="6492830" y="16408"/>
                </a:lnTo>
                <a:lnTo>
                  <a:pt x="6480470" y="34247"/>
                </a:lnTo>
                <a:lnTo>
                  <a:pt x="6475882" y="56133"/>
                </a:lnTo>
                <a:lnTo>
                  <a:pt x="6475882" y="56997"/>
                </a:lnTo>
                <a:lnTo>
                  <a:pt x="6480348" y="78884"/>
                </a:lnTo>
                <a:lnTo>
                  <a:pt x="6492506" y="96723"/>
                </a:lnTo>
                <a:lnTo>
                  <a:pt x="6510493" y="108732"/>
                </a:lnTo>
                <a:lnTo>
                  <a:pt x="6532448" y="113131"/>
                </a:lnTo>
                <a:lnTo>
                  <a:pt x="6554402" y="108732"/>
                </a:lnTo>
                <a:lnTo>
                  <a:pt x="6572389" y="96723"/>
                </a:lnTo>
                <a:lnTo>
                  <a:pt x="6584547" y="78884"/>
                </a:lnTo>
                <a:lnTo>
                  <a:pt x="6589013" y="56997"/>
                </a:lnTo>
                <a:lnTo>
                  <a:pt x="6589013" y="56133"/>
                </a:lnTo>
                <a:lnTo>
                  <a:pt x="6584365" y="34247"/>
                </a:lnTo>
                <a:lnTo>
                  <a:pt x="6571903" y="16408"/>
                </a:lnTo>
                <a:lnTo>
                  <a:pt x="6553856" y="4398"/>
                </a:lnTo>
                <a:lnTo>
                  <a:pt x="6532448" y="0"/>
                </a:lnTo>
                <a:close/>
              </a:path>
              <a:path w="8402320" h="113664">
                <a:moveTo>
                  <a:pt x="6791490" y="0"/>
                </a:moveTo>
                <a:lnTo>
                  <a:pt x="6769900" y="4398"/>
                </a:lnTo>
                <a:lnTo>
                  <a:pt x="6751872" y="16408"/>
                </a:lnTo>
                <a:lnTo>
                  <a:pt x="6739512" y="34247"/>
                </a:lnTo>
                <a:lnTo>
                  <a:pt x="6734924" y="56133"/>
                </a:lnTo>
                <a:lnTo>
                  <a:pt x="6734924" y="56997"/>
                </a:lnTo>
                <a:lnTo>
                  <a:pt x="6739390" y="78884"/>
                </a:lnTo>
                <a:lnTo>
                  <a:pt x="6751548" y="96723"/>
                </a:lnTo>
                <a:lnTo>
                  <a:pt x="6769535" y="108732"/>
                </a:lnTo>
                <a:lnTo>
                  <a:pt x="6791490" y="113131"/>
                </a:lnTo>
                <a:lnTo>
                  <a:pt x="6813444" y="108732"/>
                </a:lnTo>
                <a:lnTo>
                  <a:pt x="6831431" y="96723"/>
                </a:lnTo>
                <a:lnTo>
                  <a:pt x="6843589" y="78884"/>
                </a:lnTo>
                <a:lnTo>
                  <a:pt x="6848055" y="56997"/>
                </a:lnTo>
                <a:lnTo>
                  <a:pt x="6848055" y="56133"/>
                </a:lnTo>
                <a:lnTo>
                  <a:pt x="6843407" y="34247"/>
                </a:lnTo>
                <a:lnTo>
                  <a:pt x="6830945" y="16408"/>
                </a:lnTo>
                <a:lnTo>
                  <a:pt x="6812897" y="4398"/>
                </a:lnTo>
                <a:lnTo>
                  <a:pt x="6791490" y="0"/>
                </a:lnTo>
                <a:close/>
              </a:path>
              <a:path w="8402320" h="113664">
                <a:moveTo>
                  <a:pt x="7050519" y="0"/>
                </a:moveTo>
                <a:lnTo>
                  <a:pt x="7028929" y="4398"/>
                </a:lnTo>
                <a:lnTo>
                  <a:pt x="7010901" y="16408"/>
                </a:lnTo>
                <a:lnTo>
                  <a:pt x="6998541" y="34247"/>
                </a:lnTo>
                <a:lnTo>
                  <a:pt x="6993953" y="56133"/>
                </a:lnTo>
                <a:lnTo>
                  <a:pt x="6993953" y="56997"/>
                </a:lnTo>
                <a:lnTo>
                  <a:pt x="6998419" y="78884"/>
                </a:lnTo>
                <a:lnTo>
                  <a:pt x="7010577" y="96723"/>
                </a:lnTo>
                <a:lnTo>
                  <a:pt x="7028564" y="108732"/>
                </a:lnTo>
                <a:lnTo>
                  <a:pt x="7050519" y="113131"/>
                </a:lnTo>
                <a:lnTo>
                  <a:pt x="7072473" y="108732"/>
                </a:lnTo>
                <a:lnTo>
                  <a:pt x="7090460" y="96723"/>
                </a:lnTo>
                <a:lnTo>
                  <a:pt x="7102618" y="78884"/>
                </a:lnTo>
                <a:lnTo>
                  <a:pt x="7107085" y="56997"/>
                </a:lnTo>
                <a:lnTo>
                  <a:pt x="7107085" y="56133"/>
                </a:lnTo>
                <a:lnTo>
                  <a:pt x="7102436" y="34247"/>
                </a:lnTo>
                <a:lnTo>
                  <a:pt x="7089975" y="16408"/>
                </a:lnTo>
                <a:lnTo>
                  <a:pt x="7071927" y="4398"/>
                </a:lnTo>
                <a:lnTo>
                  <a:pt x="7050519" y="0"/>
                </a:lnTo>
                <a:close/>
              </a:path>
              <a:path w="8402320" h="113664">
                <a:moveTo>
                  <a:pt x="7309561" y="0"/>
                </a:moveTo>
                <a:lnTo>
                  <a:pt x="7287971" y="4398"/>
                </a:lnTo>
                <a:lnTo>
                  <a:pt x="7269943" y="16408"/>
                </a:lnTo>
                <a:lnTo>
                  <a:pt x="7257583" y="34247"/>
                </a:lnTo>
                <a:lnTo>
                  <a:pt x="7252995" y="56133"/>
                </a:lnTo>
                <a:lnTo>
                  <a:pt x="7252995" y="56997"/>
                </a:lnTo>
                <a:lnTo>
                  <a:pt x="7257461" y="78884"/>
                </a:lnTo>
                <a:lnTo>
                  <a:pt x="7269619" y="96723"/>
                </a:lnTo>
                <a:lnTo>
                  <a:pt x="7287606" y="108732"/>
                </a:lnTo>
                <a:lnTo>
                  <a:pt x="7309561" y="113131"/>
                </a:lnTo>
                <a:lnTo>
                  <a:pt x="7331515" y="108732"/>
                </a:lnTo>
                <a:lnTo>
                  <a:pt x="7349502" y="96723"/>
                </a:lnTo>
                <a:lnTo>
                  <a:pt x="7361660" y="78884"/>
                </a:lnTo>
                <a:lnTo>
                  <a:pt x="7366127" y="56997"/>
                </a:lnTo>
                <a:lnTo>
                  <a:pt x="7366127" y="56133"/>
                </a:lnTo>
                <a:lnTo>
                  <a:pt x="7361478" y="34247"/>
                </a:lnTo>
                <a:lnTo>
                  <a:pt x="7349016" y="16408"/>
                </a:lnTo>
                <a:lnTo>
                  <a:pt x="7330969" y="4398"/>
                </a:lnTo>
                <a:lnTo>
                  <a:pt x="7309561" y="0"/>
                </a:lnTo>
                <a:close/>
              </a:path>
              <a:path w="8402320" h="113664">
                <a:moveTo>
                  <a:pt x="7568590" y="0"/>
                </a:moveTo>
                <a:lnTo>
                  <a:pt x="7547000" y="4398"/>
                </a:lnTo>
                <a:lnTo>
                  <a:pt x="7528972" y="16408"/>
                </a:lnTo>
                <a:lnTo>
                  <a:pt x="7516612" y="34247"/>
                </a:lnTo>
                <a:lnTo>
                  <a:pt x="7512024" y="56133"/>
                </a:lnTo>
                <a:lnTo>
                  <a:pt x="7512024" y="56997"/>
                </a:lnTo>
                <a:lnTo>
                  <a:pt x="7516491" y="78884"/>
                </a:lnTo>
                <a:lnTo>
                  <a:pt x="7528648" y="96723"/>
                </a:lnTo>
                <a:lnTo>
                  <a:pt x="7546636" y="108732"/>
                </a:lnTo>
                <a:lnTo>
                  <a:pt x="7568590" y="113131"/>
                </a:lnTo>
                <a:lnTo>
                  <a:pt x="7590544" y="108732"/>
                </a:lnTo>
                <a:lnTo>
                  <a:pt x="7608531" y="96723"/>
                </a:lnTo>
                <a:lnTo>
                  <a:pt x="7620689" y="78884"/>
                </a:lnTo>
                <a:lnTo>
                  <a:pt x="7625156" y="56997"/>
                </a:lnTo>
                <a:lnTo>
                  <a:pt x="7625156" y="56133"/>
                </a:lnTo>
                <a:lnTo>
                  <a:pt x="7620507" y="34247"/>
                </a:lnTo>
                <a:lnTo>
                  <a:pt x="7608046" y="16408"/>
                </a:lnTo>
                <a:lnTo>
                  <a:pt x="7589998" y="4398"/>
                </a:lnTo>
                <a:lnTo>
                  <a:pt x="7568590" y="0"/>
                </a:lnTo>
                <a:close/>
              </a:path>
              <a:path w="8402320" h="113664">
                <a:moveTo>
                  <a:pt x="7827632" y="0"/>
                </a:moveTo>
                <a:lnTo>
                  <a:pt x="7806042" y="4398"/>
                </a:lnTo>
                <a:lnTo>
                  <a:pt x="7788014" y="16408"/>
                </a:lnTo>
                <a:lnTo>
                  <a:pt x="7775654" y="34247"/>
                </a:lnTo>
                <a:lnTo>
                  <a:pt x="7771066" y="56133"/>
                </a:lnTo>
                <a:lnTo>
                  <a:pt x="7771066" y="56997"/>
                </a:lnTo>
                <a:lnTo>
                  <a:pt x="7775532" y="78884"/>
                </a:lnTo>
                <a:lnTo>
                  <a:pt x="7787690" y="96723"/>
                </a:lnTo>
                <a:lnTo>
                  <a:pt x="7805677" y="108732"/>
                </a:lnTo>
                <a:lnTo>
                  <a:pt x="7827632" y="113131"/>
                </a:lnTo>
                <a:lnTo>
                  <a:pt x="7849586" y="108732"/>
                </a:lnTo>
                <a:lnTo>
                  <a:pt x="7867573" y="96723"/>
                </a:lnTo>
                <a:lnTo>
                  <a:pt x="7879731" y="78884"/>
                </a:lnTo>
                <a:lnTo>
                  <a:pt x="7884198" y="56997"/>
                </a:lnTo>
                <a:lnTo>
                  <a:pt x="7884198" y="56133"/>
                </a:lnTo>
                <a:lnTo>
                  <a:pt x="7879549" y="34247"/>
                </a:lnTo>
                <a:lnTo>
                  <a:pt x="7867088" y="16408"/>
                </a:lnTo>
                <a:lnTo>
                  <a:pt x="7849040" y="4398"/>
                </a:lnTo>
                <a:lnTo>
                  <a:pt x="7827632" y="0"/>
                </a:lnTo>
                <a:close/>
              </a:path>
              <a:path w="8402320" h="113664">
                <a:moveTo>
                  <a:pt x="8086661" y="0"/>
                </a:moveTo>
                <a:lnTo>
                  <a:pt x="8065071" y="4398"/>
                </a:lnTo>
                <a:lnTo>
                  <a:pt x="8047043" y="16408"/>
                </a:lnTo>
                <a:lnTo>
                  <a:pt x="8034683" y="34247"/>
                </a:lnTo>
                <a:lnTo>
                  <a:pt x="8030095" y="56133"/>
                </a:lnTo>
                <a:lnTo>
                  <a:pt x="8030095" y="56997"/>
                </a:lnTo>
                <a:lnTo>
                  <a:pt x="8034562" y="78884"/>
                </a:lnTo>
                <a:lnTo>
                  <a:pt x="8046719" y="96723"/>
                </a:lnTo>
                <a:lnTo>
                  <a:pt x="8064707" y="108732"/>
                </a:lnTo>
                <a:lnTo>
                  <a:pt x="8086661" y="113131"/>
                </a:lnTo>
                <a:lnTo>
                  <a:pt x="8108615" y="108732"/>
                </a:lnTo>
                <a:lnTo>
                  <a:pt x="8126603" y="96723"/>
                </a:lnTo>
                <a:lnTo>
                  <a:pt x="8138760" y="78884"/>
                </a:lnTo>
                <a:lnTo>
                  <a:pt x="8143227" y="56997"/>
                </a:lnTo>
                <a:lnTo>
                  <a:pt x="8143227" y="56133"/>
                </a:lnTo>
                <a:lnTo>
                  <a:pt x="8138578" y="34247"/>
                </a:lnTo>
                <a:lnTo>
                  <a:pt x="8126117" y="16408"/>
                </a:lnTo>
                <a:lnTo>
                  <a:pt x="8108069" y="4398"/>
                </a:lnTo>
                <a:lnTo>
                  <a:pt x="8086661" y="0"/>
                </a:lnTo>
                <a:close/>
              </a:path>
              <a:path w="8402320" h="113664">
                <a:moveTo>
                  <a:pt x="8345703" y="0"/>
                </a:moveTo>
                <a:lnTo>
                  <a:pt x="8324113" y="4398"/>
                </a:lnTo>
                <a:lnTo>
                  <a:pt x="8306085" y="16408"/>
                </a:lnTo>
                <a:lnTo>
                  <a:pt x="8293725" y="34247"/>
                </a:lnTo>
                <a:lnTo>
                  <a:pt x="8289137" y="56133"/>
                </a:lnTo>
                <a:lnTo>
                  <a:pt x="8289137" y="56997"/>
                </a:lnTo>
                <a:lnTo>
                  <a:pt x="8293604" y="78884"/>
                </a:lnTo>
                <a:lnTo>
                  <a:pt x="8305761" y="96723"/>
                </a:lnTo>
                <a:lnTo>
                  <a:pt x="8323749" y="108732"/>
                </a:lnTo>
                <a:lnTo>
                  <a:pt x="8345703" y="113131"/>
                </a:lnTo>
                <a:lnTo>
                  <a:pt x="8367657" y="108732"/>
                </a:lnTo>
                <a:lnTo>
                  <a:pt x="8385644" y="96723"/>
                </a:lnTo>
                <a:lnTo>
                  <a:pt x="8397802" y="78884"/>
                </a:lnTo>
                <a:lnTo>
                  <a:pt x="8402269" y="56997"/>
                </a:lnTo>
                <a:lnTo>
                  <a:pt x="8402269" y="56133"/>
                </a:lnTo>
                <a:lnTo>
                  <a:pt x="8397620" y="34247"/>
                </a:lnTo>
                <a:lnTo>
                  <a:pt x="8385159" y="16408"/>
                </a:lnTo>
                <a:lnTo>
                  <a:pt x="8367111" y="4398"/>
                </a:lnTo>
                <a:lnTo>
                  <a:pt x="8345703" y="0"/>
                </a:lnTo>
                <a:close/>
              </a:path>
            </a:pathLst>
          </a:custGeom>
          <a:solidFill>
            <a:srgbClr val="E2E3E4"/>
          </a:solidFill>
        </p:spPr>
        <p:txBody>
          <a:bodyPr wrap="square" lIns="0" tIns="0" rIns="0" bIns="0" rtlCol="0"/>
          <a:lstStyle/>
          <a:p>
            <a:endParaRPr sz="1800"/>
          </a:p>
        </p:txBody>
      </p:sp>
      <p:sp>
        <p:nvSpPr>
          <p:cNvPr id="12" name="object 3"/>
          <p:cNvSpPr/>
          <p:nvPr/>
        </p:nvSpPr>
        <p:spPr>
          <a:xfrm>
            <a:off x="494490" y="6143980"/>
            <a:ext cx="11203093" cy="113664"/>
          </a:xfrm>
          <a:custGeom>
            <a:avLst/>
            <a:gdLst/>
            <a:ahLst/>
            <a:cxnLst/>
            <a:rect l="l" t="t" r="r" b="b"/>
            <a:pathLst>
              <a:path w="8402320" h="113664">
                <a:moveTo>
                  <a:pt x="56565" y="0"/>
                </a:moveTo>
                <a:lnTo>
                  <a:pt x="34975" y="4398"/>
                </a:lnTo>
                <a:lnTo>
                  <a:pt x="16948" y="16408"/>
                </a:lnTo>
                <a:lnTo>
                  <a:pt x="4587" y="34247"/>
                </a:lnTo>
                <a:lnTo>
                  <a:pt x="0" y="56133"/>
                </a:lnTo>
                <a:lnTo>
                  <a:pt x="0" y="56997"/>
                </a:lnTo>
                <a:lnTo>
                  <a:pt x="4466" y="78884"/>
                </a:lnTo>
                <a:lnTo>
                  <a:pt x="16624" y="96723"/>
                </a:lnTo>
                <a:lnTo>
                  <a:pt x="34611" y="108732"/>
                </a:lnTo>
                <a:lnTo>
                  <a:pt x="56565" y="113131"/>
                </a:lnTo>
                <a:lnTo>
                  <a:pt x="78520" y="108732"/>
                </a:lnTo>
                <a:lnTo>
                  <a:pt x="96507" y="96723"/>
                </a:lnTo>
                <a:lnTo>
                  <a:pt x="108665" y="78884"/>
                </a:lnTo>
                <a:lnTo>
                  <a:pt x="113131" y="56997"/>
                </a:lnTo>
                <a:lnTo>
                  <a:pt x="113131" y="56133"/>
                </a:lnTo>
                <a:lnTo>
                  <a:pt x="108483" y="34247"/>
                </a:lnTo>
                <a:lnTo>
                  <a:pt x="96021" y="16408"/>
                </a:lnTo>
                <a:lnTo>
                  <a:pt x="77973" y="4398"/>
                </a:lnTo>
                <a:lnTo>
                  <a:pt x="56565" y="0"/>
                </a:lnTo>
                <a:close/>
              </a:path>
              <a:path w="8402320" h="113664">
                <a:moveTo>
                  <a:pt x="315595" y="0"/>
                </a:moveTo>
                <a:lnTo>
                  <a:pt x="294005" y="4398"/>
                </a:lnTo>
                <a:lnTo>
                  <a:pt x="275977" y="16408"/>
                </a:lnTo>
                <a:lnTo>
                  <a:pt x="263617" y="34247"/>
                </a:lnTo>
                <a:lnTo>
                  <a:pt x="259029" y="56133"/>
                </a:lnTo>
                <a:lnTo>
                  <a:pt x="259029" y="56997"/>
                </a:lnTo>
                <a:lnTo>
                  <a:pt x="263495" y="78884"/>
                </a:lnTo>
                <a:lnTo>
                  <a:pt x="275653" y="96723"/>
                </a:lnTo>
                <a:lnTo>
                  <a:pt x="293640" y="108732"/>
                </a:lnTo>
                <a:lnTo>
                  <a:pt x="315595" y="113131"/>
                </a:lnTo>
                <a:lnTo>
                  <a:pt x="337549" y="108732"/>
                </a:lnTo>
                <a:lnTo>
                  <a:pt x="355536" y="96723"/>
                </a:lnTo>
                <a:lnTo>
                  <a:pt x="367694" y="78884"/>
                </a:lnTo>
                <a:lnTo>
                  <a:pt x="372160" y="56997"/>
                </a:lnTo>
                <a:lnTo>
                  <a:pt x="372160" y="56133"/>
                </a:lnTo>
                <a:lnTo>
                  <a:pt x="367512" y="34247"/>
                </a:lnTo>
                <a:lnTo>
                  <a:pt x="355050" y="16408"/>
                </a:lnTo>
                <a:lnTo>
                  <a:pt x="337002" y="4398"/>
                </a:lnTo>
                <a:lnTo>
                  <a:pt x="315595" y="0"/>
                </a:lnTo>
                <a:close/>
              </a:path>
              <a:path w="8402320" h="113664">
                <a:moveTo>
                  <a:pt x="574636" y="0"/>
                </a:moveTo>
                <a:lnTo>
                  <a:pt x="553046" y="4398"/>
                </a:lnTo>
                <a:lnTo>
                  <a:pt x="535019" y="16408"/>
                </a:lnTo>
                <a:lnTo>
                  <a:pt x="522658" y="34247"/>
                </a:lnTo>
                <a:lnTo>
                  <a:pt x="518071" y="56133"/>
                </a:lnTo>
                <a:lnTo>
                  <a:pt x="518071" y="56997"/>
                </a:lnTo>
                <a:lnTo>
                  <a:pt x="522537" y="78884"/>
                </a:lnTo>
                <a:lnTo>
                  <a:pt x="534695" y="96723"/>
                </a:lnTo>
                <a:lnTo>
                  <a:pt x="552682" y="108732"/>
                </a:lnTo>
                <a:lnTo>
                  <a:pt x="574636" y="113131"/>
                </a:lnTo>
                <a:lnTo>
                  <a:pt x="596591" y="108732"/>
                </a:lnTo>
                <a:lnTo>
                  <a:pt x="614578" y="96723"/>
                </a:lnTo>
                <a:lnTo>
                  <a:pt x="626736" y="78884"/>
                </a:lnTo>
                <a:lnTo>
                  <a:pt x="631202" y="56997"/>
                </a:lnTo>
                <a:lnTo>
                  <a:pt x="631202" y="56133"/>
                </a:lnTo>
                <a:lnTo>
                  <a:pt x="626554" y="34247"/>
                </a:lnTo>
                <a:lnTo>
                  <a:pt x="614092" y="16408"/>
                </a:lnTo>
                <a:lnTo>
                  <a:pt x="596044" y="4398"/>
                </a:lnTo>
                <a:lnTo>
                  <a:pt x="574636" y="0"/>
                </a:lnTo>
                <a:close/>
              </a:path>
              <a:path w="8402320" h="113664">
                <a:moveTo>
                  <a:pt x="833666" y="0"/>
                </a:moveTo>
                <a:lnTo>
                  <a:pt x="812076" y="4398"/>
                </a:lnTo>
                <a:lnTo>
                  <a:pt x="794048" y="16408"/>
                </a:lnTo>
                <a:lnTo>
                  <a:pt x="781688" y="34247"/>
                </a:lnTo>
                <a:lnTo>
                  <a:pt x="777100" y="56133"/>
                </a:lnTo>
                <a:lnTo>
                  <a:pt x="777100" y="56997"/>
                </a:lnTo>
                <a:lnTo>
                  <a:pt x="781566" y="78884"/>
                </a:lnTo>
                <a:lnTo>
                  <a:pt x="793724" y="96723"/>
                </a:lnTo>
                <a:lnTo>
                  <a:pt x="811711" y="108732"/>
                </a:lnTo>
                <a:lnTo>
                  <a:pt x="833666" y="113131"/>
                </a:lnTo>
                <a:lnTo>
                  <a:pt x="855620" y="108732"/>
                </a:lnTo>
                <a:lnTo>
                  <a:pt x="873607" y="96723"/>
                </a:lnTo>
                <a:lnTo>
                  <a:pt x="885765" y="78884"/>
                </a:lnTo>
                <a:lnTo>
                  <a:pt x="890231" y="56997"/>
                </a:lnTo>
                <a:lnTo>
                  <a:pt x="890231" y="56133"/>
                </a:lnTo>
                <a:lnTo>
                  <a:pt x="885583" y="34247"/>
                </a:lnTo>
                <a:lnTo>
                  <a:pt x="873121" y="16408"/>
                </a:lnTo>
                <a:lnTo>
                  <a:pt x="855073" y="4398"/>
                </a:lnTo>
                <a:lnTo>
                  <a:pt x="833666" y="0"/>
                </a:lnTo>
                <a:close/>
              </a:path>
              <a:path w="8402320" h="113664">
                <a:moveTo>
                  <a:pt x="1092708" y="0"/>
                </a:moveTo>
                <a:lnTo>
                  <a:pt x="1071118" y="4398"/>
                </a:lnTo>
                <a:lnTo>
                  <a:pt x="1053090" y="16408"/>
                </a:lnTo>
                <a:lnTo>
                  <a:pt x="1040730" y="34247"/>
                </a:lnTo>
                <a:lnTo>
                  <a:pt x="1036142" y="56133"/>
                </a:lnTo>
                <a:lnTo>
                  <a:pt x="1036142" y="56997"/>
                </a:lnTo>
                <a:lnTo>
                  <a:pt x="1040608" y="78884"/>
                </a:lnTo>
                <a:lnTo>
                  <a:pt x="1052766" y="96723"/>
                </a:lnTo>
                <a:lnTo>
                  <a:pt x="1070753" y="108732"/>
                </a:lnTo>
                <a:lnTo>
                  <a:pt x="1092708" y="113131"/>
                </a:lnTo>
                <a:lnTo>
                  <a:pt x="1114662" y="108732"/>
                </a:lnTo>
                <a:lnTo>
                  <a:pt x="1132649" y="96723"/>
                </a:lnTo>
                <a:lnTo>
                  <a:pt x="1144807" y="78884"/>
                </a:lnTo>
                <a:lnTo>
                  <a:pt x="1149273" y="56997"/>
                </a:lnTo>
                <a:lnTo>
                  <a:pt x="1149273" y="56133"/>
                </a:lnTo>
                <a:lnTo>
                  <a:pt x="1144625" y="34247"/>
                </a:lnTo>
                <a:lnTo>
                  <a:pt x="1132163" y="16408"/>
                </a:lnTo>
                <a:lnTo>
                  <a:pt x="1114115" y="4398"/>
                </a:lnTo>
                <a:lnTo>
                  <a:pt x="1092708" y="0"/>
                </a:lnTo>
                <a:close/>
              </a:path>
              <a:path w="8402320" h="113664">
                <a:moveTo>
                  <a:pt x="1351737" y="0"/>
                </a:moveTo>
                <a:lnTo>
                  <a:pt x="1330147" y="4398"/>
                </a:lnTo>
                <a:lnTo>
                  <a:pt x="1312119" y="16408"/>
                </a:lnTo>
                <a:lnTo>
                  <a:pt x="1299759" y="34247"/>
                </a:lnTo>
                <a:lnTo>
                  <a:pt x="1295171" y="56133"/>
                </a:lnTo>
                <a:lnTo>
                  <a:pt x="1295171" y="56997"/>
                </a:lnTo>
                <a:lnTo>
                  <a:pt x="1299637" y="78884"/>
                </a:lnTo>
                <a:lnTo>
                  <a:pt x="1311795" y="96723"/>
                </a:lnTo>
                <a:lnTo>
                  <a:pt x="1329782" y="108732"/>
                </a:lnTo>
                <a:lnTo>
                  <a:pt x="1351737" y="113131"/>
                </a:lnTo>
                <a:lnTo>
                  <a:pt x="1373691" y="108732"/>
                </a:lnTo>
                <a:lnTo>
                  <a:pt x="1391678" y="96723"/>
                </a:lnTo>
                <a:lnTo>
                  <a:pt x="1403836" y="78884"/>
                </a:lnTo>
                <a:lnTo>
                  <a:pt x="1408303" y="56997"/>
                </a:lnTo>
                <a:lnTo>
                  <a:pt x="1408303" y="56133"/>
                </a:lnTo>
                <a:lnTo>
                  <a:pt x="1403654" y="34247"/>
                </a:lnTo>
                <a:lnTo>
                  <a:pt x="1391192" y="16408"/>
                </a:lnTo>
                <a:lnTo>
                  <a:pt x="1373145" y="4398"/>
                </a:lnTo>
                <a:lnTo>
                  <a:pt x="1351737" y="0"/>
                </a:lnTo>
                <a:close/>
              </a:path>
              <a:path w="8402320" h="113664">
                <a:moveTo>
                  <a:pt x="1610779" y="0"/>
                </a:moveTo>
                <a:lnTo>
                  <a:pt x="1589189" y="4398"/>
                </a:lnTo>
                <a:lnTo>
                  <a:pt x="1571161" y="16408"/>
                </a:lnTo>
                <a:lnTo>
                  <a:pt x="1558801" y="34247"/>
                </a:lnTo>
                <a:lnTo>
                  <a:pt x="1554213" y="56133"/>
                </a:lnTo>
                <a:lnTo>
                  <a:pt x="1554213" y="56997"/>
                </a:lnTo>
                <a:lnTo>
                  <a:pt x="1558679" y="78884"/>
                </a:lnTo>
                <a:lnTo>
                  <a:pt x="1570837" y="96723"/>
                </a:lnTo>
                <a:lnTo>
                  <a:pt x="1588824" y="108732"/>
                </a:lnTo>
                <a:lnTo>
                  <a:pt x="1610779" y="113131"/>
                </a:lnTo>
                <a:lnTo>
                  <a:pt x="1632733" y="108732"/>
                </a:lnTo>
                <a:lnTo>
                  <a:pt x="1650720" y="96723"/>
                </a:lnTo>
                <a:lnTo>
                  <a:pt x="1662878" y="78884"/>
                </a:lnTo>
                <a:lnTo>
                  <a:pt x="1667344" y="56997"/>
                </a:lnTo>
                <a:lnTo>
                  <a:pt x="1667344" y="56133"/>
                </a:lnTo>
                <a:lnTo>
                  <a:pt x="1662696" y="34247"/>
                </a:lnTo>
                <a:lnTo>
                  <a:pt x="1650234" y="16408"/>
                </a:lnTo>
                <a:lnTo>
                  <a:pt x="1632186" y="4398"/>
                </a:lnTo>
                <a:lnTo>
                  <a:pt x="1610779" y="0"/>
                </a:lnTo>
                <a:close/>
              </a:path>
              <a:path w="8402320" h="113664">
                <a:moveTo>
                  <a:pt x="1869808" y="0"/>
                </a:moveTo>
                <a:lnTo>
                  <a:pt x="1848218" y="4398"/>
                </a:lnTo>
                <a:lnTo>
                  <a:pt x="1830190" y="16408"/>
                </a:lnTo>
                <a:lnTo>
                  <a:pt x="1817830" y="34247"/>
                </a:lnTo>
                <a:lnTo>
                  <a:pt x="1813242" y="56133"/>
                </a:lnTo>
                <a:lnTo>
                  <a:pt x="1813242" y="56997"/>
                </a:lnTo>
                <a:lnTo>
                  <a:pt x="1817708" y="78884"/>
                </a:lnTo>
                <a:lnTo>
                  <a:pt x="1829866" y="96723"/>
                </a:lnTo>
                <a:lnTo>
                  <a:pt x="1847853" y="108732"/>
                </a:lnTo>
                <a:lnTo>
                  <a:pt x="1869808" y="113131"/>
                </a:lnTo>
                <a:lnTo>
                  <a:pt x="1891762" y="108732"/>
                </a:lnTo>
                <a:lnTo>
                  <a:pt x="1909749" y="96723"/>
                </a:lnTo>
                <a:lnTo>
                  <a:pt x="1921907" y="78884"/>
                </a:lnTo>
                <a:lnTo>
                  <a:pt x="1926374" y="56997"/>
                </a:lnTo>
                <a:lnTo>
                  <a:pt x="1926374" y="56133"/>
                </a:lnTo>
                <a:lnTo>
                  <a:pt x="1921725" y="34247"/>
                </a:lnTo>
                <a:lnTo>
                  <a:pt x="1909264" y="16408"/>
                </a:lnTo>
                <a:lnTo>
                  <a:pt x="1891216" y="4398"/>
                </a:lnTo>
                <a:lnTo>
                  <a:pt x="1869808" y="0"/>
                </a:lnTo>
                <a:close/>
              </a:path>
              <a:path w="8402320" h="113664">
                <a:moveTo>
                  <a:pt x="2128850" y="0"/>
                </a:moveTo>
                <a:lnTo>
                  <a:pt x="2107260" y="4398"/>
                </a:lnTo>
                <a:lnTo>
                  <a:pt x="2089232" y="16408"/>
                </a:lnTo>
                <a:lnTo>
                  <a:pt x="2076872" y="34247"/>
                </a:lnTo>
                <a:lnTo>
                  <a:pt x="2072284" y="56133"/>
                </a:lnTo>
                <a:lnTo>
                  <a:pt x="2072284" y="56997"/>
                </a:lnTo>
                <a:lnTo>
                  <a:pt x="2076750" y="78884"/>
                </a:lnTo>
                <a:lnTo>
                  <a:pt x="2088908" y="96723"/>
                </a:lnTo>
                <a:lnTo>
                  <a:pt x="2106895" y="108732"/>
                </a:lnTo>
                <a:lnTo>
                  <a:pt x="2128850" y="113131"/>
                </a:lnTo>
                <a:lnTo>
                  <a:pt x="2150804" y="108732"/>
                </a:lnTo>
                <a:lnTo>
                  <a:pt x="2168791" y="96723"/>
                </a:lnTo>
                <a:lnTo>
                  <a:pt x="2180949" y="78884"/>
                </a:lnTo>
                <a:lnTo>
                  <a:pt x="2185416" y="56997"/>
                </a:lnTo>
                <a:lnTo>
                  <a:pt x="2185416" y="56133"/>
                </a:lnTo>
                <a:lnTo>
                  <a:pt x="2180767" y="34247"/>
                </a:lnTo>
                <a:lnTo>
                  <a:pt x="2168305" y="16408"/>
                </a:lnTo>
                <a:lnTo>
                  <a:pt x="2150258" y="4398"/>
                </a:lnTo>
                <a:lnTo>
                  <a:pt x="2128850" y="0"/>
                </a:lnTo>
                <a:close/>
              </a:path>
              <a:path w="8402320" h="113664">
                <a:moveTo>
                  <a:pt x="2387879" y="0"/>
                </a:moveTo>
                <a:lnTo>
                  <a:pt x="2366289" y="4398"/>
                </a:lnTo>
                <a:lnTo>
                  <a:pt x="2348261" y="16408"/>
                </a:lnTo>
                <a:lnTo>
                  <a:pt x="2335901" y="34247"/>
                </a:lnTo>
                <a:lnTo>
                  <a:pt x="2331313" y="56133"/>
                </a:lnTo>
                <a:lnTo>
                  <a:pt x="2331313" y="56997"/>
                </a:lnTo>
                <a:lnTo>
                  <a:pt x="2335780" y="78884"/>
                </a:lnTo>
                <a:lnTo>
                  <a:pt x="2347937" y="96723"/>
                </a:lnTo>
                <a:lnTo>
                  <a:pt x="2365925" y="108732"/>
                </a:lnTo>
                <a:lnTo>
                  <a:pt x="2387879" y="113131"/>
                </a:lnTo>
                <a:lnTo>
                  <a:pt x="2409833" y="108732"/>
                </a:lnTo>
                <a:lnTo>
                  <a:pt x="2427820" y="96723"/>
                </a:lnTo>
                <a:lnTo>
                  <a:pt x="2439978" y="78884"/>
                </a:lnTo>
                <a:lnTo>
                  <a:pt x="2444445" y="56997"/>
                </a:lnTo>
                <a:lnTo>
                  <a:pt x="2444445" y="56133"/>
                </a:lnTo>
                <a:lnTo>
                  <a:pt x="2439796" y="34247"/>
                </a:lnTo>
                <a:lnTo>
                  <a:pt x="2427335" y="16408"/>
                </a:lnTo>
                <a:lnTo>
                  <a:pt x="2409287" y="4398"/>
                </a:lnTo>
                <a:lnTo>
                  <a:pt x="2387879" y="0"/>
                </a:lnTo>
                <a:close/>
              </a:path>
              <a:path w="8402320" h="113664">
                <a:moveTo>
                  <a:pt x="2646921" y="0"/>
                </a:moveTo>
                <a:lnTo>
                  <a:pt x="2625331" y="4398"/>
                </a:lnTo>
                <a:lnTo>
                  <a:pt x="2607303" y="16408"/>
                </a:lnTo>
                <a:lnTo>
                  <a:pt x="2594943" y="34247"/>
                </a:lnTo>
                <a:lnTo>
                  <a:pt x="2590355" y="56133"/>
                </a:lnTo>
                <a:lnTo>
                  <a:pt x="2590355" y="56997"/>
                </a:lnTo>
                <a:lnTo>
                  <a:pt x="2594821" y="78884"/>
                </a:lnTo>
                <a:lnTo>
                  <a:pt x="2606979" y="96723"/>
                </a:lnTo>
                <a:lnTo>
                  <a:pt x="2624966" y="108732"/>
                </a:lnTo>
                <a:lnTo>
                  <a:pt x="2646921" y="113131"/>
                </a:lnTo>
                <a:lnTo>
                  <a:pt x="2668875" y="108732"/>
                </a:lnTo>
                <a:lnTo>
                  <a:pt x="2686862" y="96723"/>
                </a:lnTo>
                <a:lnTo>
                  <a:pt x="2699020" y="78884"/>
                </a:lnTo>
                <a:lnTo>
                  <a:pt x="2703487" y="56997"/>
                </a:lnTo>
                <a:lnTo>
                  <a:pt x="2703487" y="56133"/>
                </a:lnTo>
                <a:lnTo>
                  <a:pt x="2698838" y="34247"/>
                </a:lnTo>
                <a:lnTo>
                  <a:pt x="2686377" y="16408"/>
                </a:lnTo>
                <a:lnTo>
                  <a:pt x="2668329" y="4398"/>
                </a:lnTo>
                <a:lnTo>
                  <a:pt x="2646921" y="0"/>
                </a:lnTo>
                <a:close/>
              </a:path>
              <a:path w="8402320" h="113664">
                <a:moveTo>
                  <a:pt x="2905950" y="0"/>
                </a:moveTo>
                <a:lnTo>
                  <a:pt x="2884360" y="4398"/>
                </a:lnTo>
                <a:lnTo>
                  <a:pt x="2866332" y="16408"/>
                </a:lnTo>
                <a:lnTo>
                  <a:pt x="2853972" y="34247"/>
                </a:lnTo>
                <a:lnTo>
                  <a:pt x="2849384" y="56133"/>
                </a:lnTo>
                <a:lnTo>
                  <a:pt x="2849384" y="56997"/>
                </a:lnTo>
                <a:lnTo>
                  <a:pt x="2853851" y="78884"/>
                </a:lnTo>
                <a:lnTo>
                  <a:pt x="2866009" y="96723"/>
                </a:lnTo>
                <a:lnTo>
                  <a:pt x="2883996" y="108732"/>
                </a:lnTo>
                <a:lnTo>
                  <a:pt x="2905950" y="113131"/>
                </a:lnTo>
                <a:lnTo>
                  <a:pt x="2927904" y="108732"/>
                </a:lnTo>
                <a:lnTo>
                  <a:pt x="2945892" y="96723"/>
                </a:lnTo>
                <a:lnTo>
                  <a:pt x="2958049" y="78884"/>
                </a:lnTo>
                <a:lnTo>
                  <a:pt x="2962516" y="56997"/>
                </a:lnTo>
                <a:lnTo>
                  <a:pt x="2962516" y="56133"/>
                </a:lnTo>
                <a:lnTo>
                  <a:pt x="2957867" y="34247"/>
                </a:lnTo>
                <a:lnTo>
                  <a:pt x="2945406" y="16408"/>
                </a:lnTo>
                <a:lnTo>
                  <a:pt x="2927358" y="4398"/>
                </a:lnTo>
                <a:lnTo>
                  <a:pt x="2905950" y="0"/>
                </a:lnTo>
                <a:close/>
              </a:path>
              <a:path w="8402320" h="113664">
                <a:moveTo>
                  <a:pt x="3164992" y="0"/>
                </a:moveTo>
                <a:lnTo>
                  <a:pt x="3143402" y="4398"/>
                </a:lnTo>
                <a:lnTo>
                  <a:pt x="3125374" y="16408"/>
                </a:lnTo>
                <a:lnTo>
                  <a:pt x="3113014" y="34247"/>
                </a:lnTo>
                <a:lnTo>
                  <a:pt x="3108426" y="56133"/>
                </a:lnTo>
                <a:lnTo>
                  <a:pt x="3108426" y="56997"/>
                </a:lnTo>
                <a:lnTo>
                  <a:pt x="3112893" y="78884"/>
                </a:lnTo>
                <a:lnTo>
                  <a:pt x="3125050" y="96723"/>
                </a:lnTo>
                <a:lnTo>
                  <a:pt x="3143038" y="108732"/>
                </a:lnTo>
                <a:lnTo>
                  <a:pt x="3164992" y="113131"/>
                </a:lnTo>
                <a:lnTo>
                  <a:pt x="3186946" y="108732"/>
                </a:lnTo>
                <a:lnTo>
                  <a:pt x="3204933" y="96723"/>
                </a:lnTo>
                <a:lnTo>
                  <a:pt x="3217091" y="78884"/>
                </a:lnTo>
                <a:lnTo>
                  <a:pt x="3221558" y="56997"/>
                </a:lnTo>
                <a:lnTo>
                  <a:pt x="3221558" y="56133"/>
                </a:lnTo>
                <a:lnTo>
                  <a:pt x="3216909" y="34247"/>
                </a:lnTo>
                <a:lnTo>
                  <a:pt x="3204448" y="16408"/>
                </a:lnTo>
                <a:lnTo>
                  <a:pt x="3186400" y="4398"/>
                </a:lnTo>
                <a:lnTo>
                  <a:pt x="3164992" y="0"/>
                </a:lnTo>
                <a:close/>
              </a:path>
              <a:path w="8402320" h="113664">
                <a:moveTo>
                  <a:pt x="3424021" y="0"/>
                </a:moveTo>
                <a:lnTo>
                  <a:pt x="3402431" y="4398"/>
                </a:lnTo>
                <a:lnTo>
                  <a:pt x="3384403" y="16408"/>
                </a:lnTo>
                <a:lnTo>
                  <a:pt x="3372043" y="34247"/>
                </a:lnTo>
                <a:lnTo>
                  <a:pt x="3367455" y="56133"/>
                </a:lnTo>
                <a:lnTo>
                  <a:pt x="3367455" y="56997"/>
                </a:lnTo>
                <a:lnTo>
                  <a:pt x="3371922" y="78884"/>
                </a:lnTo>
                <a:lnTo>
                  <a:pt x="3384080" y="96723"/>
                </a:lnTo>
                <a:lnTo>
                  <a:pt x="3402067" y="108732"/>
                </a:lnTo>
                <a:lnTo>
                  <a:pt x="3424021" y="113131"/>
                </a:lnTo>
                <a:lnTo>
                  <a:pt x="3445975" y="108732"/>
                </a:lnTo>
                <a:lnTo>
                  <a:pt x="3463963" y="96723"/>
                </a:lnTo>
                <a:lnTo>
                  <a:pt x="3476120" y="78884"/>
                </a:lnTo>
                <a:lnTo>
                  <a:pt x="3480587" y="56997"/>
                </a:lnTo>
                <a:lnTo>
                  <a:pt x="3480587" y="56133"/>
                </a:lnTo>
                <a:lnTo>
                  <a:pt x="3475938" y="34247"/>
                </a:lnTo>
                <a:lnTo>
                  <a:pt x="3463477" y="16408"/>
                </a:lnTo>
                <a:lnTo>
                  <a:pt x="3445429" y="4398"/>
                </a:lnTo>
                <a:lnTo>
                  <a:pt x="3424021" y="0"/>
                </a:lnTo>
                <a:close/>
              </a:path>
              <a:path w="8402320" h="113664">
                <a:moveTo>
                  <a:pt x="3683063" y="0"/>
                </a:moveTo>
                <a:lnTo>
                  <a:pt x="3661473" y="4398"/>
                </a:lnTo>
                <a:lnTo>
                  <a:pt x="3643445" y="16408"/>
                </a:lnTo>
                <a:lnTo>
                  <a:pt x="3631085" y="34247"/>
                </a:lnTo>
                <a:lnTo>
                  <a:pt x="3626497" y="56133"/>
                </a:lnTo>
                <a:lnTo>
                  <a:pt x="3626497" y="56997"/>
                </a:lnTo>
                <a:lnTo>
                  <a:pt x="3630964" y="78884"/>
                </a:lnTo>
                <a:lnTo>
                  <a:pt x="3643122" y="96723"/>
                </a:lnTo>
                <a:lnTo>
                  <a:pt x="3661109" y="108732"/>
                </a:lnTo>
                <a:lnTo>
                  <a:pt x="3683063" y="113131"/>
                </a:lnTo>
                <a:lnTo>
                  <a:pt x="3705017" y="108732"/>
                </a:lnTo>
                <a:lnTo>
                  <a:pt x="3723005" y="96723"/>
                </a:lnTo>
                <a:lnTo>
                  <a:pt x="3735162" y="78884"/>
                </a:lnTo>
                <a:lnTo>
                  <a:pt x="3739629" y="56997"/>
                </a:lnTo>
                <a:lnTo>
                  <a:pt x="3739629" y="56133"/>
                </a:lnTo>
                <a:lnTo>
                  <a:pt x="3734980" y="34247"/>
                </a:lnTo>
                <a:lnTo>
                  <a:pt x="3722519" y="16408"/>
                </a:lnTo>
                <a:lnTo>
                  <a:pt x="3704471" y="4398"/>
                </a:lnTo>
                <a:lnTo>
                  <a:pt x="3683063" y="0"/>
                </a:lnTo>
                <a:close/>
              </a:path>
              <a:path w="8402320" h="113664">
                <a:moveTo>
                  <a:pt x="3942092" y="0"/>
                </a:moveTo>
                <a:lnTo>
                  <a:pt x="3920502" y="4398"/>
                </a:lnTo>
                <a:lnTo>
                  <a:pt x="3902475" y="16408"/>
                </a:lnTo>
                <a:lnTo>
                  <a:pt x="3890114" y="34247"/>
                </a:lnTo>
                <a:lnTo>
                  <a:pt x="3885526" y="56133"/>
                </a:lnTo>
                <a:lnTo>
                  <a:pt x="3885526" y="56997"/>
                </a:lnTo>
                <a:lnTo>
                  <a:pt x="3889993" y="78884"/>
                </a:lnTo>
                <a:lnTo>
                  <a:pt x="3902151" y="96723"/>
                </a:lnTo>
                <a:lnTo>
                  <a:pt x="3920138" y="108732"/>
                </a:lnTo>
                <a:lnTo>
                  <a:pt x="3942092" y="113131"/>
                </a:lnTo>
                <a:lnTo>
                  <a:pt x="3964047" y="108732"/>
                </a:lnTo>
                <a:lnTo>
                  <a:pt x="3982034" y="96723"/>
                </a:lnTo>
                <a:lnTo>
                  <a:pt x="3994192" y="78884"/>
                </a:lnTo>
                <a:lnTo>
                  <a:pt x="3998658" y="56997"/>
                </a:lnTo>
                <a:lnTo>
                  <a:pt x="3998658" y="56133"/>
                </a:lnTo>
                <a:lnTo>
                  <a:pt x="3994009" y="34247"/>
                </a:lnTo>
                <a:lnTo>
                  <a:pt x="3981548" y="16408"/>
                </a:lnTo>
                <a:lnTo>
                  <a:pt x="3963500" y="4398"/>
                </a:lnTo>
                <a:lnTo>
                  <a:pt x="3942092" y="0"/>
                </a:lnTo>
                <a:close/>
              </a:path>
              <a:path w="8402320" h="113664">
                <a:moveTo>
                  <a:pt x="4201134" y="0"/>
                </a:moveTo>
                <a:lnTo>
                  <a:pt x="4179544" y="4398"/>
                </a:lnTo>
                <a:lnTo>
                  <a:pt x="4161516" y="16408"/>
                </a:lnTo>
                <a:lnTo>
                  <a:pt x="4149156" y="34247"/>
                </a:lnTo>
                <a:lnTo>
                  <a:pt x="4144568" y="56133"/>
                </a:lnTo>
                <a:lnTo>
                  <a:pt x="4144568" y="56997"/>
                </a:lnTo>
                <a:lnTo>
                  <a:pt x="4149035" y="78884"/>
                </a:lnTo>
                <a:lnTo>
                  <a:pt x="4161193" y="96723"/>
                </a:lnTo>
                <a:lnTo>
                  <a:pt x="4179180" y="108732"/>
                </a:lnTo>
                <a:lnTo>
                  <a:pt x="4201134" y="113131"/>
                </a:lnTo>
                <a:lnTo>
                  <a:pt x="4223088" y="108732"/>
                </a:lnTo>
                <a:lnTo>
                  <a:pt x="4241076" y="96723"/>
                </a:lnTo>
                <a:lnTo>
                  <a:pt x="4253233" y="78884"/>
                </a:lnTo>
                <a:lnTo>
                  <a:pt x="4257700" y="56997"/>
                </a:lnTo>
                <a:lnTo>
                  <a:pt x="4257700" y="56133"/>
                </a:lnTo>
                <a:lnTo>
                  <a:pt x="4253051" y="34247"/>
                </a:lnTo>
                <a:lnTo>
                  <a:pt x="4240590" y="16408"/>
                </a:lnTo>
                <a:lnTo>
                  <a:pt x="4222542" y="4398"/>
                </a:lnTo>
                <a:lnTo>
                  <a:pt x="4201134" y="0"/>
                </a:lnTo>
                <a:close/>
              </a:path>
              <a:path w="8402320" h="113664">
                <a:moveTo>
                  <a:pt x="4460163" y="0"/>
                </a:moveTo>
                <a:lnTo>
                  <a:pt x="4438573" y="4398"/>
                </a:lnTo>
                <a:lnTo>
                  <a:pt x="4420546" y="16408"/>
                </a:lnTo>
                <a:lnTo>
                  <a:pt x="4408185" y="34247"/>
                </a:lnTo>
                <a:lnTo>
                  <a:pt x="4403598" y="56133"/>
                </a:lnTo>
                <a:lnTo>
                  <a:pt x="4403598" y="56997"/>
                </a:lnTo>
                <a:lnTo>
                  <a:pt x="4408064" y="78884"/>
                </a:lnTo>
                <a:lnTo>
                  <a:pt x="4420222" y="96723"/>
                </a:lnTo>
                <a:lnTo>
                  <a:pt x="4438209" y="108732"/>
                </a:lnTo>
                <a:lnTo>
                  <a:pt x="4460163" y="113131"/>
                </a:lnTo>
                <a:lnTo>
                  <a:pt x="4482118" y="108732"/>
                </a:lnTo>
                <a:lnTo>
                  <a:pt x="4500105" y="96723"/>
                </a:lnTo>
                <a:lnTo>
                  <a:pt x="4512263" y="78884"/>
                </a:lnTo>
                <a:lnTo>
                  <a:pt x="4516729" y="56997"/>
                </a:lnTo>
                <a:lnTo>
                  <a:pt x="4516729" y="56133"/>
                </a:lnTo>
                <a:lnTo>
                  <a:pt x="4512081" y="34247"/>
                </a:lnTo>
                <a:lnTo>
                  <a:pt x="4499619" y="16408"/>
                </a:lnTo>
                <a:lnTo>
                  <a:pt x="4481571" y="4398"/>
                </a:lnTo>
                <a:lnTo>
                  <a:pt x="4460163" y="0"/>
                </a:lnTo>
                <a:close/>
              </a:path>
              <a:path w="8402320" h="113664">
                <a:moveTo>
                  <a:pt x="4719205" y="0"/>
                </a:moveTo>
                <a:lnTo>
                  <a:pt x="4697615" y="4398"/>
                </a:lnTo>
                <a:lnTo>
                  <a:pt x="4679588" y="16408"/>
                </a:lnTo>
                <a:lnTo>
                  <a:pt x="4667227" y="34247"/>
                </a:lnTo>
                <a:lnTo>
                  <a:pt x="4662639" y="56133"/>
                </a:lnTo>
                <a:lnTo>
                  <a:pt x="4662639" y="56997"/>
                </a:lnTo>
                <a:lnTo>
                  <a:pt x="4667106" y="78884"/>
                </a:lnTo>
                <a:lnTo>
                  <a:pt x="4679264" y="96723"/>
                </a:lnTo>
                <a:lnTo>
                  <a:pt x="4697251" y="108732"/>
                </a:lnTo>
                <a:lnTo>
                  <a:pt x="4719205" y="113131"/>
                </a:lnTo>
                <a:lnTo>
                  <a:pt x="4741160" y="108732"/>
                </a:lnTo>
                <a:lnTo>
                  <a:pt x="4759147" y="96723"/>
                </a:lnTo>
                <a:lnTo>
                  <a:pt x="4771305" y="78884"/>
                </a:lnTo>
                <a:lnTo>
                  <a:pt x="4775771" y="56997"/>
                </a:lnTo>
                <a:lnTo>
                  <a:pt x="4775771" y="56133"/>
                </a:lnTo>
                <a:lnTo>
                  <a:pt x="4771122" y="34247"/>
                </a:lnTo>
                <a:lnTo>
                  <a:pt x="4758661" y="16408"/>
                </a:lnTo>
                <a:lnTo>
                  <a:pt x="4740613" y="4398"/>
                </a:lnTo>
                <a:lnTo>
                  <a:pt x="4719205" y="0"/>
                </a:lnTo>
                <a:close/>
              </a:path>
              <a:path w="8402320" h="113664">
                <a:moveTo>
                  <a:pt x="4978234" y="0"/>
                </a:moveTo>
                <a:lnTo>
                  <a:pt x="4956644" y="4398"/>
                </a:lnTo>
                <a:lnTo>
                  <a:pt x="4938617" y="16408"/>
                </a:lnTo>
                <a:lnTo>
                  <a:pt x="4926256" y="34247"/>
                </a:lnTo>
                <a:lnTo>
                  <a:pt x="4921669" y="56133"/>
                </a:lnTo>
                <a:lnTo>
                  <a:pt x="4921669" y="56997"/>
                </a:lnTo>
                <a:lnTo>
                  <a:pt x="4926135" y="78884"/>
                </a:lnTo>
                <a:lnTo>
                  <a:pt x="4938293" y="96723"/>
                </a:lnTo>
                <a:lnTo>
                  <a:pt x="4956280" y="108732"/>
                </a:lnTo>
                <a:lnTo>
                  <a:pt x="4978234" y="113131"/>
                </a:lnTo>
                <a:lnTo>
                  <a:pt x="5000189" y="108732"/>
                </a:lnTo>
                <a:lnTo>
                  <a:pt x="5018176" y="96723"/>
                </a:lnTo>
                <a:lnTo>
                  <a:pt x="5030334" y="78884"/>
                </a:lnTo>
                <a:lnTo>
                  <a:pt x="5034800" y="56997"/>
                </a:lnTo>
                <a:lnTo>
                  <a:pt x="5034800" y="56133"/>
                </a:lnTo>
                <a:lnTo>
                  <a:pt x="5030152" y="34247"/>
                </a:lnTo>
                <a:lnTo>
                  <a:pt x="5017690" y="16408"/>
                </a:lnTo>
                <a:lnTo>
                  <a:pt x="4999642" y="4398"/>
                </a:lnTo>
                <a:lnTo>
                  <a:pt x="4978234" y="0"/>
                </a:lnTo>
                <a:close/>
              </a:path>
              <a:path w="8402320" h="113664">
                <a:moveTo>
                  <a:pt x="5237276" y="0"/>
                </a:moveTo>
                <a:lnTo>
                  <a:pt x="5215686" y="4398"/>
                </a:lnTo>
                <a:lnTo>
                  <a:pt x="5197659" y="16408"/>
                </a:lnTo>
                <a:lnTo>
                  <a:pt x="5185298" y="34247"/>
                </a:lnTo>
                <a:lnTo>
                  <a:pt x="5180711" y="56133"/>
                </a:lnTo>
                <a:lnTo>
                  <a:pt x="5180711" y="56997"/>
                </a:lnTo>
                <a:lnTo>
                  <a:pt x="5185177" y="78884"/>
                </a:lnTo>
                <a:lnTo>
                  <a:pt x="5197335" y="96723"/>
                </a:lnTo>
                <a:lnTo>
                  <a:pt x="5215322" y="108732"/>
                </a:lnTo>
                <a:lnTo>
                  <a:pt x="5237276" y="113131"/>
                </a:lnTo>
                <a:lnTo>
                  <a:pt x="5259231" y="108732"/>
                </a:lnTo>
                <a:lnTo>
                  <a:pt x="5277218" y="96723"/>
                </a:lnTo>
                <a:lnTo>
                  <a:pt x="5289376" y="78884"/>
                </a:lnTo>
                <a:lnTo>
                  <a:pt x="5293842" y="56997"/>
                </a:lnTo>
                <a:lnTo>
                  <a:pt x="5293842" y="56133"/>
                </a:lnTo>
                <a:lnTo>
                  <a:pt x="5289194" y="34247"/>
                </a:lnTo>
                <a:lnTo>
                  <a:pt x="5276732" y="16408"/>
                </a:lnTo>
                <a:lnTo>
                  <a:pt x="5258684" y="4398"/>
                </a:lnTo>
                <a:lnTo>
                  <a:pt x="5237276" y="0"/>
                </a:lnTo>
                <a:close/>
              </a:path>
              <a:path w="8402320" h="113664">
                <a:moveTo>
                  <a:pt x="5496306" y="0"/>
                </a:moveTo>
                <a:lnTo>
                  <a:pt x="5474716" y="4398"/>
                </a:lnTo>
                <a:lnTo>
                  <a:pt x="5456688" y="16408"/>
                </a:lnTo>
                <a:lnTo>
                  <a:pt x="5444328" y="34247"/>
                </a:lnTo>
                <a:lnTo>
                  <a:pt x="5439740" y="56133"/>
                </a:lnTo>
                <a:lnTo>
                  <a:pt x="5439740" y="56997"/>
                </a:lnTo>
                <a:lnTo>
                  <a:pt x="5444206" y="78884"/>
                </a:lnTo>
                <a:lnTo>
                  <a:pt x="5456364" y="96723"/>
                </a:lnTo>
                <a:lnTo>
                  <a:pt x="5474351" y="108732"/>
                </a:lnTo>
                <a:lnTo>
                  <a:pt x="5496306" y="113131"/>
                </a:lnTo>
                <a:lnTo>
                  <a:pt x="5518260" y="108732"/>
                </a:lnTo>
                <a:lnTo>
                  <a:pt x="5536247" y="96723"/>
                </a:lnTo>
                <a:lnTo>
                  <a:pt x="5548405" y="78884"/>
                </a:lnTo>
                <a:lnTo>
                  <a:pt x="5552871" y="56997"/>
                </a:lnTo>
                <a:lnTo>
                  <a:pt x="5552871" y="56133"/>
                </a:lnTo>
                <a:lnTo>
                  <a:pt x="5548223" y="34247"/>
                </a:lnTo>
                <a:lnTo>
                  <a:pt x="5535761" y="16408"/>
                </a:lnTo>
                <a:lnTo>
                  <a:pt x="5517713" y="4398"/>
                </a:lnTo>
                <a:lnTo>
                  <a:pt x="5496306" y="0"/>
                </a:lnTo>
                <a:close/>
              </a:path>
              <a:path w="8402320" h="113664">
                <a:moveTo>
                  <a:pt x="5755347" y="0"/>
                </a:moveTo>
                <a:lnTo>
                  <a:pt x="5733757" y="4398"/>
                </a:lnTo>
                <a:lnTo>
                  <a:pt x="5715730" y="16408"/>
                </a:lnTo>
                <a:lnTo>
                  <a:pt x="5703369" y="34247"/>
                </a:lnTo>
                <a:lnTo>
                  <a:pt x="5698782" y="56133"/>
                </a:lnTo>
                <a:lnTo>
                  <a:pt x="5698782" y="56997"/>
                </a:lnTo>
                <a:lnTo>
                  <a:pt x="5703248" y="78884"/>
                </a:lnTo>
                <a:lnTo>
                  <a:pt x="5715406" y="96723"/>
                </a:lnTo>
                <a:lnTo>
                  <a:pt x="5733393" y="108732"/>
                </a:lnTo>
                <a:lnTo>
                  <a:pt x="5755347" y="113131"/>
                </a:lnTo>
                <a:lnTo>
                  <a:pt x="5777302" y="108732"/>
                </a:lnTo>
                <a:lnTo>
                  <a:pt x="5795289" y="96723"/>
                </a:lnTo>
                <a:lnTo>
                  <a:pt x="5807447" y="78884"/>
                </a:lnTo>
                <a:lnTo>
                  <a:pt x="5811913" y="56997"/>
                </a:lnTo>
                <a:lnTo>
                  <a:pt x="5811913" y="56133"/>
                </a:lnTo>
                <a:lnTo>
                  <a:pt x="5807265" y="34247"/>
                </a:lnTo>
                <a:lnTo>
                  <a:pt x="5794803" y="16408"/>
                </a:lnTo>
                <a:lnTo>
                  <a:pt x="5776755" y="4398"/>
                </a:lnTo>
                <a:lnTo>
                  <a:pt x="5755347" y="0"/>
                </a:lnTo>
                <a:close/>
              </a:path>
              <a:path w="8402320" h="113664">
                <a:moveTo>
                  <a:pt x="6014377" y="0"/>
                </a:moveTo>
                <a:lnTo>
                  <a:pt x="5992787" y="4398"/>
                </a:lnTo>
                <a:lnTo>
                  <a:pt x="5974759" y="16408"/>
                </a:lnTo>
                <a:lnTo>
                  <a:pt x="5962399" y="34247"/>
                </a:lnTo>
                <a:lnTo>
                  <a:pt x="5957811" y="56133"/>
                </a:lnTo>
                <a:lnTo>
                  <a:pt x="5957811" y="56997"/>
                </a:lnTo>
                <a:lnTo>
                  <a:pt x="5962277" y="78884"/>
                </a:lnTo>
                <a:lnTo>
                  <a:pt x="5974435" y="96723"/>
                </a:lnTo>
                <a:lnTo>
                  <a:pt x="5992422" y="108732"/>
                </a:lnTo>
                <a:lnTo>
                  <a:pt x="6014377" y="113131"/>
                </a:lnTo>
                <a:lnTo>
                  <a:pt x="6036331" y="108732"/>
                </a:lnTo>
                <a:lnTo>
                  <a:pt x="6054318" y="96723"/>
                </a:lnTo>
                <a:lnTo>
                  <a:pt x="6066476" y="78884"/>
                </a:lnTo>
                <a:lnTo>
                  <a:pt x="6070942" y="56997"/>
                </a:lnTo>
                <a:lnTo>
                  <a:pt x="6070942" y="56133"/>
                </a:lnTo>
                <a:lnTo>
                  <a:pt x="6066294" y="34247"/>
                </a:lnTo>
                <a:lnTo>
                  <a:pt x="6053832" y="16408"/>
                </a:lnTo>
                <a:lnTo>
                  <a:pt x="6035784" y="4398"/>
                </a:lnTo>
                <a:lnTo>
                  <a:pt x="6014377" y="0"/>
                </a:lnTo>
                <a:close/>
              </a:path>
              <a:path w="8402320" h="113664">
                <a:moveTo>
                  <a:pt x="6273419" y="0"/>
                </a:moveTo>
                <a:lnTo>
                  <a:pt x="6251829" y="4398"/>
                </a:lnTo>
                <a:lnTo>
                  <a:pt x="6233801" y="16408"/>
                </a:lnTo>
                <a:lnTo>
                  <a:pt x="6221441" y="34247"/>
                </a:lnTo>
                <a:lnTo>
                  <a:pt x="6216853" y="56133"/>
                </a:lnTo>
                <a:lnTo>
                  <a:pt x="6216853" y="56997"/>
                </a:lnTo>
                <a:lnTo>
                  <a:pt x="6221319" y="78884"/>
                </a:lnTo>
                <a:lnTo>
                  <a:pt x="6233477" y="96723"/>
                </a:lnTo>
                <a:lnTo>
                  <a:pt x="6251464" y="108732"/>
                </a:lnTo>
                <a:lnTo>
                  <a:pt x="6273419" y="113131"/>
                </a:lnTo>
                <a:lnTo>
                  <a:pt x="6295373" y="108732"/>
                </a:lnTo>
                <a:lnTo>
                  <a:pt x="6313360" y="96723"/>
                </a:lnTo>
                <a:lnTo>
                  <a:pt x="6325518" y="78884"/>
                </a:lnTo>
                <a:lnTo>
                  <a:pt x="6329984" y="56997"/>
                </a:lnTo>
                <a:lnTo>
                  <a:pt x="6329984" y="56133"/>
                </a:lnTo>
                <a:lnTo>
                  <a:pt x="6325336" y="34247"/>
                </a:lnTo>
                <a:lnTo>
                  <a:pt x="6312874" y="16408"/>
                </a:lnTo>
                <a:lnTo>
                  <a:pt x="6294826" y="4398"/>
                </a:lnTo>
                <a:lnTo>
                  <a:pt x="6273419" y="0"/>
                </a:lnTo>
                <a:close/>
              </a:path>
              <a:path w="8402320" h="113664">
                <a:moveTo>
                  <a:pt x="6532448" y="0"/>
                </a:moveTo>
                <a:lnTo>
                  <a:pt x="6510858" y="4398"/>
                </a:lnTo>
                <a:lnTo>
                  <a:pt x="6492830" y="16408"/>
                </a:lnTo>
                <a:lnTo>
                  <a:pt x="6480470" y="34247"/>
                </a:lnTo>
                <a:lnTo>
                  <a:pt x="6475882" y="56133"/>
                </a:lnTo>
                <a:lnTo>
                  <a:pt x="6475882" y="56997"/>
                </a:lnTo>
                <a:lnTo>
                  <a:pt x="6480348" y="78884"/>
                </a:lnTo>
                <a:lnTo>
                  <a:pt x="6492506" y="96723"/>
                </a:lnTo>
                <a:lnTo>
                  <a:pt x="6510493" y="108732"/>
                </a:lnTo>
                <a:lnTo>
                  <a:pt x="6532448" y="113131"/>
                </a:lnTo>
                <a:lnTo>
                  <a:pt x="6554402" y="108732"/>
                </a:lnTo>
                <a:lnTo>
                  <a:pt x="6572389" y="96723"/>
                </a:lnTo>
                <a:lnTo>
                  <a:pt x="6584547" y="78884"/>
                </a:lnTo>
                <a:lnTo>
                  <a:pt x="6589013" y="56997"/>
                </a:lnTo>
                <a:lnTo>
                  <a:pt x="6589013" y="56133"/>
                </a:lnTo>
                <a:lnTo>
                  <a:pt x="6584365" y="34247"/>
                </a:lnTo>
                <a:lnTo>
                  <a:pt x="6571903" y="16408"/>
                </a:lnTo>
                <a:lnTo>
                  <a:pt x="6553856" y="4398"/>
                </a:lnTo>
                <a:lnTo>
                  <a:pt x="6532448" y="0"/>
                </a:lnTo>
                <a:close/>
              </a:path>
              <a:path w="8402320" h="113664">
                <a:moveTo>
                  <a:pt x="6791490" y="0"/>
                </a:moveTo>
                <a:lnTo>
                  <a:pt x="6769900" y="4398"/>
                </a:lnTo>
                <a:lnTo>
                  <a:pt x="6751872" y="16408"/>
                </a:lnTo>
                <a:lnTo>
                  <a:pt x="6739512" y="34247"/>
                </a:lnTo>
                <a:lnTo>
                  <a:pt x="6734924" y="56133"/>
                </a:lnTo>
                <a:lnTo>
                  <a:pt x="6734924" y="56997"/>
                </a:lnTo>
                <a:lnTo>
                  <a:pt x="6739390" y="78884"/>
                </a:lnTo>
                <a:lnTo>
                  <a:pt x="6751548" y="96723"/>
                </a:lnTo>
                <a:lnTo>
                  <a:pt x="6769535" y="108732"/>
                </a:lnTo>
                <a:lnTo>
                  <a:pt x="6791490" y="113131"/>
                </a:lnTo>
                <a:lnTo>
                  <a:pt x="6813444" y="108732"/>
                </a:lnTo>
                <a:lnTo>
                  <a:pt x="6831431" y="96723"/>
                </a:lnTo>
                <a:lnTo>
                  <a:pt x="6843589" y="78884"/>
                </a:lnTo>
                <a:lnTo>
                  <a:pt x="6848055" y="56997"/>
                </a:lnTo>
                <a:lnTo>
                  <a:pt x="6848055" y="56133"/>
                </a:lnTo>
                <a:lnTo>
                  <a:pt x="6843407" y="34247"/>
                </a:lnTo>
                <a:lnTo>
                  <a:pt x="6830945" y="16408"/>
                </a:lnTo>
                <a:lnTo>
                  <a:pt x="6812897" y="4398"/>
                </a:lnTo>
                <a:lnTo>
                  <a:pt x="6791490" y="0"/>
                </a:lnTo>
                <a:close/>
              </a:path>
              <a:path w="8402320" h="113664">
                <a:moveTo>
                  <a:pt x="7050519" y="0"/>
                </a:moveTo>
                <a:lnTo>
                  <a:pt x="7028929" y="4398"/>
                </a:lnTo>
                <a:lnTo>
                  <a:pt x="7010901" y="16408"/>
                </a:lnTo>
                <a:lnTo>
                  <a:pt x="6998541" y="34247"/>
                </a:lnTo>
                <a:lnTo>
                  <a:pt x="6993953" y="56133"/>
                </a:lnTo>
                <a:lnTo>
                  <a:pt x="6993953" y="56997"/>
                </a:lnTo>
                <a:lnTo>
                  <a:pt x="6998419" y="78884"/>
                </a:lnTo>
                <a:lnTo>
                  <a:pt x="7010577" y="96723"/>
                </a:lnTo>
                <a:lnTo>
                  <a:pt x="7028564" y="108732"/>
                </a:lnTo>
                <a:lnTo>
                  <a:pt x="7050519" y="113131"/>
                </a:lnTo>
                <a:lnTo>
                  <a:pt x="7072473" y="108732"/>
                </a:lnTo>
                <a:lnTo>
                  <a:pt x="7090460" y="96723"/>
                </a:lnTo>
                <a:lnTo>
                  <a:pt x="7102618" y="78884"/>
                </a:lnTo>
                <a:lnTo>
                  <a:pt x="7107085" y="56997"/>
                </a:lnTo>
                <a:lnTo>
                  <a:pt x="7107085" y="56133"/>
                </a:lnTo>
                <a:lnTo>
                  <a:pt x="7102436" y="34247"/>
                </a:lnTo>
                <a:lnTo>
                  <a:pt x="7089975" y="16408"/>
                </a:lnTo>
                <a:lnTo>
                  <a:pt x="7071927" y="4398"/>
                </a:lnTo>
                <a:lnTo>
                  <a:pt x="7050519" y="0"/>
                </a:lnTo>
                <a:close/>
              </a:path>
              <a:path w="8402320" h="113664">
                <a:moveTo>
                  <a:pt x="7309561" y="0"/>
                </a:moveTo>
                <a:lnTo>
                  <a:pt x="7287971" y="4398"/>
                </a:lnTo>
                <a:lnTo>
                  <a:pt x="7269943" y="16408"/>
                </a:lnTo>
                <a:lnTo>
                  <a:pt x="7257583" y="34247"/>
                </a:lnTo>
                <a:lnTo>
                  <a:pt x="7252995" y="56133"/>
                </a:lnTo>
                <a:lnTo>
                  <a:pt x="7252995" y="56997"/>
                </a:lnTo>
                <a:lnTo>
                  <a:pt x="7257461" y="78884"/>
                </a:lnTo>
                <a:lnTo>
                  <a:pt x="7269619" y="96723"/>
                </a:lnTo>
                <a:lnTo>
                  <a:pt x="7287606" y="108732"/>
                </a:lnTo>
                <a:lnTo>
                  <a:pt x="7309561" y="113131"/>
                </a:lnTo>
                <a:lnTo>
                  <a:pt x="7331515" y="108732"/>
                </a:lnTo>
                <a:lnTo>
                  <a:pt x="7349502" y="96723"/>
                </a:lnTo>
                <a:lnTo>
                  <a:pt x="7361660" y="78884"/>
                </a:lnTo>
                <a:lnTo>
                  <a:pt x="7366127" y="56997"/>
                </a:lnTo>
                <a:lnTo>
                  <a:pt x="7366127" y="56133"/>
                </a:lnTo>
                <a:lnTo>
                  <a:pt x="7361478" y="34247"/>
                </a:lnTo>
                <a:lnTo>
                  <a:pt x="7349016" y="16408"/>
                </a:lnTo>
                <a:lnTo>
                  <a:pt x="7330969" y="4398"/>
                </a:lnTo>
                <a:lnTo>
                  <a:pt x="7309561" y="0"/>
                </a:lnTo>
                <a:close/>
              </a:path>
              <a:path w="8402320" h="113664">
                <a:moveTo>
                  <a:pt x="7568590" y="0"/>
                </a:moveTo>
                <a:lnTo>
                  <a:pt x="7547000" y="4398"/>
                </a:lnTo>
                <a:lnTo>
                  <a:pt x="7528972" y="16408"/>
                </a:lnTo>
                <a:lnTo>
                  <a:pt x="7516612" y="34247"/>
                </a:lnTo>
                <a:lnTo>
                  <a:pt x="7512024" y="56133"/>
                </a:lnTo>
                <a:lnTo>
                  <a:pt x="7512024" y="56997"/>
                </a:lnTo>
                <a:lnTo>
                  <a:pt x="7516491" y="78884"/>
                </a:lnTo>
                <a:lnTo>
                  <a:pt x="7528648" y="96723"/>
                </a:lnTo>
                <a:lnTo>
                  <a:pt x="7546636" y="108732"/>
                </a:lnTo>
                <a:lnTo>
                  <a:pt x="7568590" y="113131"/>
                </a:lnTo>
                <a:lnTo>
                  <a:pt x="7590544" y="108732"/>
                </a:lnTo>
                <a:lnTo>
                  <a:pt x="7608531" y="96723"/>
                </a:lnTo>
                <a:lnTo>
                  <a:pt x="7620689" y="78884"/>
                </a:lnTo>
                <a:lnTo>
                  <a:pt x="7625156" y="56997"/>
                </a:lnTo>
                <a:lnTo>
                  <a:pt x="7625156" y="56133"/>
                </a:lnTo>
                <a:lnTo>
                  <a:pt x="7620507" y="34247"/>
                </a:lnTo>
                <a:lnTo>
                  <a:pt x="7608046" y="16408"/>
                </a:lnTo>
                <a:lnTo>
                  <a:pt x="7589998" y="4398"/>
                </a:lnTo>
                <a:lnTo>
                  <a:pt x="7568590" y="0"/>
                </a:lnTo>
                <a:close/>
              </a:path>
              <a:path w="8402320" h="113664">
                <a:moveTo>
                  <a:pt x="7827632" y="0"/>
                </a:moveTo>
                <a:lnTo>
                  <a:pt x="7806042" y="4398"/>
                </a:lnTo>
                <a:lnTo>
                  <a:pt x="7788014" y="16408"/>
                </a:lnTo>
                <a:lnTo>
                  <a:pt x="7775654" y="34247"/>
                </a:lnTo>
                <a:lnTo>
                  <a:pt x="7771066" y="56133"/>
                </a:lnTo>
                <a:lnTo>
                  <a:pt x="7771066" y="56997"/>
                </a:lnTo>
                <a:lnTo>
                  <a:pt x="7775532" y="78884"/>
                </a:lnTo>
                <a:lnTo>
                  <a:pt x="7787690" y="96723"/>
                </a:lnTo>
                <a:lnTo>
                  <a:pt x="7805677" y="108732"/>
                </a:lnTo>
                <a:lnTo>
                  <a:pt x="7827632" y="113131"/>
                </a:lnTo>
                <a:lnTo>
                  <a:pt x="7849586" y="108732"/>
                </a:lnTo>
                <a:lnTo>
                  <a:pt x="7867573" y="96723"/>
                </a:lnTo>
                <a:lnTo>
                  <a:pt x="7879731" y="78884"/>
                </a:lnTo>
                <a:lnTo>
                  <a:pt x="7884198" y="56997"/>
                </a:lnTo>
                <a:lnTo>
                  <a:pt x="7884198" y="56133"/>
                </a:lnTo>
                <a:lnTo>
                  <a:pt x="7879549" y="34247"/>
                </a:lnTo>
                <a:lnTo>
                  <a:pt x="7867088" y="16408"/>
                </a:lnTo>
                <a:lnTo>
                  <a:pt x="7849040" y="4398"/>
                </a:lnTo>
                <a:lnTo>
                  <a:pt x="7827632" y="0"/>
                </a:lnTo>
                <a:close/>
              </a:path>
              <a:path w="8402320" h="113664">
                <a:moveTo>
                  <a:pt x="8086661" y="0"/>
                </a:moveTo>
                <a:lnTo>
                  <a:pt x="8065071" y="4398"/>
                </a:lnTo>
                <a:lnTo>
                  <a:pt x="8047043" y="16408"/>
                </a:lnTo>
                <a:lnTo>
                  <a:pt x="8034683" y="34247"/>
                </a:lnTo>
                <a:lnTo>
                  <a:pt x="8030095" y="56133"/>
                </a:lnTo>
                <a:lnTo>
                  <a:pt x="8030095" y="56997"/>
                </a:lnTo>
                <a:lnTo>
                  <a:pt x="8034562" y="78884"/>
                </a:lnTo>
                <a:lnTo>
                  <a:pt x="8046719" y="96723"/>
                </a:lnTo>
                <a:lnTo>
                  <a:pt x="8064707" y="108732"/>
                </a:lnTo>
                <a:lnTo>
                  <a:pt x="8086661" y="113131"/>
                </a:lnTo>
                <a:lnTo>
                  <a:pt x="8108615" y="108732"/>
                </a:lnTo>
                <a:lnTo>
                  <a:pt x="8126603" y="96723"/>
                </a:lnTo>
                <a:lnTo>
                  <a:pt x="8138760" y="78884"/>
                </a:lnTo>
                <a:lnTo>
                  <a:pt x="8143227" y="56997"/>
                </a:lnTo>
                <a:lnTo>
                  <a:pt x="8143227" y="56133"/>
                </a:lnTo>
                <a:lnTo>
                  <a:pt x="8138578" y="34247"/>
                </a:lnTo>
                <a:lnTo>
                  <a:pt x="8126117" y="16408"/>
                </a:lnTo>
                <a:lnTo>
                  <a:pt x="8108069" y="4398"/>
                </a:lnTo>
                <a:lnTo>
                  <a:pt x="8086661" y="0"/>
                </a:lnTo>
                <a:close/>
              </a:path>
              <a:path w="8402320" h="113664">
                <a:moveTo>
                  <a:pt x="8345703" y="0"/>
                </a:moveTo>
                <a:lnTo>
                  <a:pt x="8324113" y="4398"/>
                </a:lnTo>
                <a:lnTo>
                  <a:pt x="8306085" y="16408"/>
                </a:lnTo>
                <a:lnTo>
                  <a:pt x="8293725" y="34247"/>
                </a:lnTo>
                <a:lnTo>
                  <a:pt x="8289137" y="56133"/>
                </a:lnTo>
                <a:lnTo>
                  <a:pt x="8289137" y="56997"/>
                </a:lnTo>
                <a:lnTo>
                  <a:pt x="8293604" y="78884"/>
                </a:lnTo>
                <a:lnTo>
                  <a:pt x="8305761" y="96723"/>
                </a:lnTo>
                <a:lnTo>
                  <a:pt x="8323749" y="108732"/>
                </a:lnTo>
                <a:lnTo>
                  <a:pt x="8345703" y="113131"/>
                </a:lnTo>
                <a:lnTo>
                  <a:pt x="8367657" y="108732"/>
                </a:lnTo>
                <a:lnTo>
                  <a:pt x="8385644" y="96723"/>
                </a:lnTo>
                <a:lnTo>
                  <a:pt x="8397802" y="78884"/>
                </a:lnTo>
                <a:lnTo>
                  <a:pt x="8402269" y="56997"/>
                </a:lnTo>
                <a:lnTo>
                  <a:pt x="8402269" y="56133"/>
                </a:lnTo>
                <a:lnTo>
                  <a:pt x="8397620" y="34247"/>
                </a:lnTo>
                <a:lnTo>
                  <a:pt x="8385159" y="16408"/>
                </a:lnTo>
                <a:lnTo>
                  <a:pt x="8367111" y="4398"/>
                </a:lnTo>
                <a:lnTo>
                  <a:pt x="8345703" y="0"/>
                </a:lnTo>
                <a:close/>
              </a:path>
            </a:pathLst>
          </a:custGeom>
          <a:solidFill>
            <a:srgbClr val="E2E3E4"/>
          </a:solidFill>
        </p:spPr>
        <p:txBody>
          <a:bodyPr wrap="square" lIns="0" tIns="0" rIns="0" bIns="0" rtlCol="0"/>
          <a:lstStyle/>
          <a:p>
            <a:endParaRPr sz="1800"/>
          </a:p>
        </p:txBody>
      </p:sp>
      <p:sp>
        <p:nvSpPr>
          <p:cNvPr id="15" name="object 2"/>
          <p:cNvSpPr/>
          <p:nvPr userDrawn="1"/>
        </p:nvSpPr>
        <p:spPr>
          <a:xfrm>
            <a:off x="494490" y="6385280"/>
            <a:ext cx="11203093" cy="113664"/>
          </a:xfrm>
          <a:custGeom>
            <a:avLst/>
            <a:gdLst/>
            <a:ahLst/>
            <a:cxnLst/>
            <a:rect l="l" t="t" r="r" b="b"/>
            <a:pathLst>
              <a:path w="8402320" h="113664">
                <a:moveTo>
                  <a:pt x="56565" y="0"/>
                </a:moveTo>
                <a:lnTo>
                  <a:pt x="34975" y="4398"/>
                </a:lnTo>
                <a:lnTo>
                  <a:pt x="16948" y="16408"/>
                </a:lnTo>
                <a:lnTo>
                  <a:pt x="4587" y="34247"/>
                </a:lnTo>
                <a:lnTo>
                  <a:pt x="0" y="56133"/>
                </a:lnTo>
                <a:lnTo>
                  <a:pt x="0" y="56997"/>
                </a:lnTo>
                <a:lnTo>
                  <a:pt x="4466" y="78884"/>
                </a:lnTo>
                <a:lnTo>
                  <a:pt x="16624" y="96723"/>
                </a:lnTo>
                <a:lnTo>
                  <a:pt x="34611" y="108732"/>
                </a:lnTo>
                <a:lnTo>
                  <a:pt x="56565" y="113131"/>
                </a:lnTo>
                <a:lnTo>
                  <a:pt x="78520" y="108732"/>
                </a:lnTo>
                <a:lnTo>
                  <a:pt x="96507" y="96723"/>
                </a:lnTo>
                <a:lnTo>
                  <a:pt x="108665" y="78884"/>
                </a:lnTo>
                <a:lnTo>
                  <a:pt x="113131" y="56997"/>
                </a:lnTo>
                <a:lnTo>
                  <a:pt x="113131" y="56133"/>
                </a:lnTo>
                <a:lnTo>
                  <a:pt x="108483" y="34247"/>
                </a:lnTo>
                <a:lnTo>
                  <a:pt x="96021" y="16408"/>
                </a:lnTo>
                <a:lnTo>
                  <a:pt x="77973" y="4398"/>
                </a:lnTo>
                <a:lnTo>
                  <a:pt x="56565" y="0"/>
                </a:lnTo>
                <a:close/>
              </a:path>
              <a:path w="8402320" h="113664">
                <a:moveTo>
                  <a:pt x="315595" y="0"/>
                </a:moveTo>
                <a:lnTo>
                  <a:pt x="294005" y="4398"/>
                </a:lnTo>
                <a:lnTo>
                  <a:pt x="275977" y="16408"/>
                </a:lnTo>
                <a:lnTo>
                  <a:pt x="263617" y="34247"/>
                </a:lnTo>
                <a:lnTo>
                  <a:pt x="259029" y="56133"/>
                </a:lnTo>
                <a:lnTo>
                  <a:pt x="259029" y="56997"/>
                </a:lnTo>
                <a:lnTo>
                  <a:pt x="263495" y="78884"/>
                </a:lnTo>
                <a:lnTo>
                  <a:pt x="275653" y="96723"/>
                </a:lnTo>
                <a:lnTo>
                  <a:pt x="293640" y="108732"/>
                </a:lnTo>
                <a:lnTo>
                  <a:pt x="315595" y="113131"/>
                </a:lnTo>
                <a:lnTo>
                  <a:pt x="337549" y="108732"/>
                </a:lnTo>
                <a:lnTo>
                  <a:pt x="355536" y="96723"/>
                </a:lnTo>
                <a:lnTo>
                  <a:pt x="367694" y="78884"/>
                </a:lnTo>
                <a:lnTo>
                  <a:pt x="372160" y="56997"/>
                </a:lnTo>
                <a:lnTo>
                  <a:pt x="372160" y="56133"/>
                </a:lnTo>
                <a:lnTo>
                  <a:pt x="367512" y="34247"/>
                </a:lnTo>
                <a:lnTo>
                  <a:pt x="355050" y="16408"/>
                </a:lnTo>
                <a:lnTo>
                  <a:pt x="337002" y="4398"/>
                </a:lnTo>
                <a:lnTo>
                  <a:pt x="315595" y="0"/>
                </a:lnTo>
                <a:close/>
              </a:path>
              <a:path w="8402320" h="113664">
                <a:moveTo>
                  <a:pt x="574636" y="0"/>
                </a:moveTo>
                <a:lnTo>
                  <a:pt x="553046" y="4398"/>
                </a:lnTo>
                <a:lnTo>
                  <a:pt x="535019" y="16408"/>
                </a:lnTo>
                <a:lnTo>
                  <a:pt x="522658" y="34247"/>
                </a:lnTo>
                <a:lnTo>
                  <a:pt x="518071" y="56133"/>
                </a:lnTo>
                <a:lnTo>
                  <a:pt x="518071" y="56997"/>
                </a:lnTo>
                <a:lnTo>
                  <a:pt x="522537" y="78884"/>
                </a:lnTo>
                <a:lnTo>
                  <a:pt x="534695" y="96723"/>
                </a:lnTo>
                <a:lnTo>
                  <a:pt x="552682" y="108732"/>
                </a:lnTo>
                <a:lnTo>
                  <a:pt x="574636" y="113131"/>
                </a:lnTo>
                <a:lnTo>
                  <a:pt x="596591" y="108732"/>
                </a:lnTo>
                <a:lnTo>
                  <a:pt x="614578" y="96723"/>
                </a:lnTo>
                <a:lnTo>
                  <a:pt x="626736" y="78884"/>
                </a:lnTo>
                <a:lnTo>
                  <a:pt x="631202" y="56997"/>
                </a:lnTo>
                <a:lnTo>
                  <a:pt x="631202" y="56133"/>
                </a:lnTo>
                <a:lnTo>
                  <a:pt x="626554" y="34247"/>
                </a:lnTo>
                <a:lnTo>
                  <a:pt x="614092" y="16408"/>
                </a:lnTo>
                <a:lnTo>
                  <a:pt x="596044" y="4398"/>
                </a:lnTo>
                <a:lnTo>
                  <a:pt x="574636" y="0"/>
                </a:lnTo>
                <a:close/>
              </a:path>
              <a:path w="8402320" h="113664">
                <a:moveTo>
                  <a:pt x="833666" y="0"/>
                </a:moveTo>
                <a:lnTo>
                  <a:pt x="812076" y="4398"/>
                </a:lnTo>
                <a:lnTo>
                  <a:pt x="794048" y="16408"/>
                </a:lnTo>
                <a:lnTo>
                  <a:pt x="781688" y="34247"/>
                </a:lnTo>
                <a:lnTo>
                  <a:pt x="777100" y="56133"/>
                </a:lnTo>
                <a:lnTo>
                  <a:pt x="777100" y="56997"/>
                </a:lnTo>
                <a:lnTo>
                  <a:pt x="781566" y="78884"/>
                </a:lnTo>
                <a:lnTo>
                  <a:pt x="793724" y="96723"/>
                </a:lnTo>
                <a:lnTo>
                  <a:pt x="811711" y="108732"/>
                </a:lnTo>
                <a:lnTo>
                  <a:pt x="833666" y="113131"/>
                </a:lnTo>
                <a:lnTo>
                  <a:pt x="855620" y="108732"/>
                </a:lnTo>
                <a:lnTo>
                  <a:pt x="873607" y="96723"/>
                </a:lnTo>
                <a:lnTo>
                  <a:pt x="885765" y="78884"/>
                </a:lnTo>
                <a:lnTo>
                  <a:pt x="890231" y="56997"/>
                </a:lnTo>
                <a:lnTo>
                  <a:pt x="890231" y="56133"/>
                </a:lnTo>
                <a:lnTo>
                  <a:pt x="885583" y="34247"/>
                </a:lnTo>
                <a:lnTo>
                  <a:pt x="873121" y="16408"/>
                </a:lnTo>
                <a:lnTo>
                  <a:pt x="855073" y="4398"/>
                </a:lnTo>
                <a:lnTo>
                  <a:pt x="833666" y="0"/>
                </a:lnTo>
                <a:close/>
              </a:path>
              <a:path w="8402320" h="113664">
                <a:moveTo>
                  <a:pt x="1092708" y="0"/>
                </a:moveTo>
                <a:lnTo>
                  <a:pt x="1071118" y="4398"/>
                </a:lnTo>
                <a:lnTo>
                  <a:pt x="1053090" y="16408"/>
                </a:lnTo>
                <a:lnTo>
                  <a:pt x="1040730" y="34247"/>
                </a:lnTo>
                <a:lnTo>
                  <a:pt x="1036142" y="56133"/>
                </a:lnTo>
                <a:lnTo>
                  <a:pt x="1036142" y="56997"/>
                </a:lnTo>
                <a:lnTo>
                  <a:pt x="1040608" y="78884"/>
                </a:lnTo>
                <a:lnTo>
                  <a:pt x="1052766" y="96723"/>
                </a:lnTo>
                <a:lnTo>
                  <a:pt x="1070753" y="108732"/>
                </a:lnTo>
                <a:lnTo>
                  <a:pt x="1092708" y="113131"/>
                </a:lnTo>
                <a:lnTo>
                  <a:pt x="1114662" y="108732"/>
                </a:lnTo>
                <a:lnTo>
                  <a:pt x="1132649" y="96723"/>
                </a:lnTo>
                <a:lnTo>
                  <a:pt x="1144807" y="78884"/>
                </a:lnTo>
                <a:lnTo>
                  <a:pt x="1149273" y="56997"/>
                </a:lnTo>
                <a:lnTo>
                  <a:pt x="1149273" y="56133"/>
                </a:lnTo>
                <a:lnTo>
                  <a:pt x="1144625" y="34247"/>
                </a:lnTo>
                <a:lnTo>
                  <a:pt x="1132163" y="16408"/>
                </a:lnTo>
                <a:lnTo>
                  <a:pt x="1114115" y="4398"/>
                </a:lnTo>
                <a:lnTo>
                  <a:pt x="1092708" y="0"/>
                </a:lnTo>
                <a:close/>
              </a:path>
              <a:path w="8402320" h="113664">
                <a:moveTo>
                  <a:pt x="1351737" y="0"/>
                </a:moveTo>
                <a:lnTo>
                  <a:pt x="1330147" y="4398"/>
                </a:lnTo>
                <a:lnTo>
                  <a:pt x="1312119" y="16408"/>
                </a:lnTo>
                <a:lnTo>
                  <a:pt x="1299759" y="34247"/>
                </a:lnTo>
                <a:lnTo>
                  <a:pt x="1295171" y="56133"/>
                </a:lnTo>
                <a:lnTo>
                  <a:pt x="1295171" y="56997"/>
                </a:lnTo>
                <a:lnTo>
                  <a:pt x="1299637" y="78884"/>
                </a:lnTo>
                <a:lnTo>
                  <a:pt x="1311795" y="96723"/>
                </a:lnTo>
                <a:lnTo>
                  <a:pt x="1329782" y="108732"/>
                </a:lnTo>
                <a:lnTo>
                  <a:pt x="1351737" y="113131"/>
                </a:lnTo>
                <a:lnTo>
                  <a:pt x="1373691" y="108732"/>
                </a:lnTo>
                <a:lnTo>
                  <a:pt x="1391678" y="96723"/>
                </a:lnTo>
                <a:lnTo>
                  <a:pt x="1403836" y="78884"/>
                </a:lnTo>
                <a:lnTo>
                  <a:pt x="1408303" y="56997"/>
                </a:lnTo>
                <a:lnTo>
                  <a:pt x="1408303" y="56133"/>
                </a:lnTo>
                <a:lnTo>
                  <a:pt x="1403654" y="34247"/>
                </a:lnTo>
                <a:lnTo>
                  <a:pt x="1391192" y="16408"/>
                </a:lnTo>
                <a:lnTo>
                  <a:pt x="1373145" y="4398"/>
                </a:lnTo>
                <a:lnTo>
                  <a:pt x="1351737" y="0"/>
                </a:lnTo>
                <a:close/>
              </a:path>
              <a:path w="8402320" h="113664">
                <a:moveTo>
                  <a:pt x="1610779" y="0"/>
                </a:moveTo>
                <a:lnTo>
                  <a:pt x="1589189" y="4398"/>
                </a:lnTo>
                <a:lnTo>
                  <a:pt x="1571161" y="16408"/>
                </a:lnTo>
                <a:lnTo>
                  <a:pt x="1558801" y="34247"/>
                </a:lnTo>
                <a:lnTo>
                  <a:pt x="1554213" y="56133"/>
                </a:lnTo>
                <a:lnTo>
                  <a:pt x="1554213" y="56997"/>
                </a:lnTo>
                <a:lnTo>
                  <a:pt x="1558679" y="78884"/>
                </a:lnTo>
                <a:lnTo>
                  <a:pt x="1570837" y="96723"/>
                </a:lnTo>
                <a:lnTo>
                  <a:pt x="1588824" y="108732"/>
                </a:lnTo>
                <a:lnTo>
                  <a:pt x="1610779" y="113131"/>
                </a:lnTo>
                <a:lnTo>
                  <a:pt x="1632733" y="108732"/>
                </a:lnTo>
                <a:lnTo>
                  <a:pt x="1650720" y="96723"/>
                </a:lnTo>
                <a:lnTo>
                  <a:pt x="1662878" y="78884"/>
                </a:lnTo>
                <a:lnTo>
                  <a:pt x="1667344" y="56997"/>
                </a:lnTo>
                <a:lnTo>
                  <a:pt x="1667344" y="56133"/>
                </a:lnTo>
                <a:lnTo>
                  <a:pt x="1662696" y="34247"/>
                </a:lnTo>
                <a:lnTo>
                  <a:pt x="1650234" y="16408"/>
                </a:lnTo>
                <a:lnTo>
                  <a:pt x="1632186" y="4398"/>
                </a:lnTo>
                <a:lnTo>
                  <a:pt x="1610779" y="0"/>
                </a:lnTo>
                <a:close/>
              </a:path>
              <a:path w="8402320" h="113664">
                <a:moveTo>
                  <a:pt x="1869808" y="0"/>
                </a:moveTo>
                <a:lnTo>
                  <a:pt x="1848218" y="4398"/>
                </a:lnTo>
                <a:lnTo>
                  <a:pt x="1830190" y="16408"/>
                </a:lnTo>
                <a:lnTo>
                  <a:pt x="1817830" y="34247"/>
                </a:lnTo>
                <a:lnTo>
                  <a:pt x="1813242" y="56133"/>
                </a:lnTo>
                <a:lnTo>
                  <a:pt x="1813242" y="56997"/>
                </a:lnTo>
                <a:lnTo>
                  <a:pt x="1817708" y="78884"/>
                </a:lnTo>
                <a:lnTo>
                  <a:pt x="1829866" y="96723"/>
                </a:lnTo>
                <a:lnTo>
                  <a:pt x="1847853" y="108732"/>
                </a:lnTo>
                <a:lnTo>
                  <a:pt x="1869808" y="113131"/>
                </a:lnTo>
                <a:lnTo>
                  <a:pt x="1891762" y="108732"/>
                </a:lnTo>
                <a:lnTo>
                  <a:pt x="1909749" y="96723"/>
                </a:lnTo>
                <a:lnTo>
                  <a:pt x="1921907" y="78884"/>
                </a:lnTo>
                <a:lnTo>
                  <a:pt x="1926374" y="56997"/>
                </a:lnTo>
                <a:lnTo>
                  <a:pt x="1926374" y="56133"/>
                </a:lnTo>
                <a:lnTo>
                  <a:pt x="1921725" y="34247"/>
                </a:lnTo>
                <a:lnTo>
                  <a:pt x="1909264" y="16408"/>
                </a:lnTo>
                <a:lnTo>
                  <a:pt x="1891216" y="4398"/>
                </a:lnTo>
                <a:lnTo>
                  <a:pt x="1869808" y="0"/>
                </a:lnTo>
                <a:close/>
              </a:path>
              <a:path w="8402320" h="113664">
                <a:moveTo>
                  <a:pt x="2128850" y="0"/>
                </a:moveTo>
                <a:lnTo>
                  <a:pt x="2107260" y="4398"/>
                </a:lnTo>
                <a:lnTo>
                  <a:pt x="2089232" y="16408"/>
                </a:lnTo>
                <a:lnTo>
                  <a:pt x="2076872" y="34247"/>
                </a:lnTo>
                <a:lnTo>
                  <a:pt x="2072284" y="56133"/>
                </a:lnTo>
                <a:lnTo>
                  <a:pt x="2072284" y="56997"/>
                </a:lnTo>
                <a:lnTo>
                  <a:pt x="2076750" y="78884"/>
                </a:lnTo>
                <a:lnTo>
                  <a:pt x="2088908" y="96723"/>
                </a:lnTo>
                <a:lnTo>
                  <a:pt x="2106895" y="108732"/>
                </a:lnTo>
                <a:lnTo>
                  <a:pt x="2128850" y="113131"/>
                </a:lnTo>
                <a:lnTo>
                  <a:pt x="2150804" y="108732"/>
                </a:lnTo>
                <a:lnTo>
                  <a:pt x="2168791" y="96723"/>
                </a:lnTo>
                <a:lnTo>
                  <a:pt x="2180949" y="78884"/>
                </a:lnTo>
                <a:lnTo>
                  <a:pt x="2185416" y="56997"/>
                </a:lnTo>
                <a:lnTo>
                  <a:pt x="2185416" y="56133"/>
                </a:lnTo>
                <a:lnTo>
                  <a:pt x="2180767" y="34247"/>
                </a:lnTo>
                <a:lnTo>
                  <a:pt x="2168305" y="16408"/>
                </a:lnTo>
                <a:lnTo>
                  <a:pt x="2150258" y="4398"/>
                </a:lnTo>
                <a:lnTo>
                  <a:pt x="2128850" y="0"/>
                </a:lnTo>
                <a:close/>
              </a:path>
              <a:path w="8402320" h="113664">
                <a:moveTo>
                  <a:pt x="2387879" y="0"/>
                </a:moveTo>
                <a:lnTo>
                  <a:pt x="2366289" y="4398"/>
                </a:lnTo>
                <a:lnTo>
                  <a:pt x="2348261" y="16408"/>
                </a:lnTo>
                <a:lnTo>
                  <a:pt x="2335901" y="34247"/>
                </a:lnTo>
                <a:lnTo>
                  <a:pt x="2331313" y="56133"/>
                </a:lnTo>
                <a:lnTo>
                  <a:pt x="2331313" y="56997"/>
                </a:lnTo>
                <a:lnTo>
                  <a:pt x="2335780" y="78884"/>
                </a:lnTo>
                <a:lnTo>
                  <a:pt x="2347937" y="96723"/>
                </a:lnTo>
                <a:lnTo>
                  <a:pt x="2365925" y="108732"/>
                </a:lnTo>
                <a:lnTo>
                  <a:pt x="2387879" y="113131"/>
                </a:lnTo>
                <a:lnTo>
                  <a:pt x="2409833" y="108732"/>
                </a:lnTo>
                <a:lnTo>
                  <a:pt x="2427820" y="96723"/>
                </a:lnTo>
                <a:lnTo>
                  <a:pt x="2439978" y="78884"/>
                </a:lnTo>
                <a:lnTo>
                  <a:pt x="2444445" y="56997"/>
                </a:lnTo>
                <a:lnTo>
                  <a:pt x="2444445" y="56133"/>
                </a:lnTo>
                <a:lnTo>
                  <a:pt x="2439796" y="34247"/>
                </a:lnTo>
                <a:lnTo>
                  <a:pt x="2427335" y="16408"/>
                </a:lnTo>
                <a:lnTo>
                  <a:pt x="2409287" y="4398"/>
                </a:lnTo>
                <a:lnTo>
                  <a:pt x="2387879" y="0"/>
                </a:lnTo>
                <a:close/>
              </a:path>
              <a:path w="8402320" h="113664">
                <a:moveTo>
                  <a:pt x="2646921" y="0"/>
                </a:moveTo>
                <a:lnTo>
                  <a:pt x="2625331" y="4398"/>
                </a:lnTo>
                <a:lnTo>
                  <a:pt x="2607303" y="16408"/>
                </a:lnTo>
                <a:lnTo>
                  <a:pt x="2594943" y="34247"/>
                </a:lnTo>
                <a:lnTo>
                  <a:pt x="2590355" y="56133"/>
                </a:lnTo>
                <a:lnTo>
                  <a:pt x="2590355" y="56997"/>
                </a:lnTo>
                <a:lnTo>
                  <a:pt x="2594821" y="78884"/>
                </a:lnTo>
                <a:lnTo>
                  <a:pt x="2606979" y="96723"/>
                </a:lnTo>
                <a:lnTo>
                  <a:pt x="2624966" y="108732"/>
                </a:lnTo>
                <a:lnTo>
                  <a:pt x="2646921" y="113131"/>
                </a:lnTo>
                <a:lnTo>
                  <a:pt x="2668875" y="108732"/>
                </a:lnTo>
                <a:lnTo>
                  <a:pt x="2686862" y="96723"/>
                </a:lnTo>
                <a:lnTo>
                  <a:pt x="2699020" y="78884"/>
                </a:lnTo>
                <a:lnTo>
                  <a:pt x="2703487" y="56997"/>
                </a:lnTo>
                <a:lnTo>
                  <a:pt x="2703487" y="56133"/>
                </a:lnTo>
                <a:lnTo>
                  <a:pt x="2698838" y="34247"/>
                </a:lnTo>
                <a:lnTo>
                  <a:pt x="2686377" y="16408"/>
                </a:lnTo>
                <a:lnTo>
                  <a:pt x="2668329" y="4398"/>
                </a:lnTo>
                <a:lnTo>
                  <a:pt x="2646921" y="0"/>
                </a:lnTo>
                <a:close/>
              </a:path>
              <a:path w="8402320" h="113664">
                <a:moveTo>
                  <a:pt x="2905950" y="0"/>
                </a:moveTo>
                <a:lnTo>
                  <a:pt x="2884360" y="4398"/>
                </a:lnTo>
                <a:lnTo>
                  <a:pt x="2866332" y="16408"/>
                </a:lnTo>
                <a:lnTo>
                  <a:pt x="2853972" y="34247"/>
                </a:lnTo>
                <a:lnTo>
                  <a:pt x="2849384" y="56133"/>
                </a:lnTo>
                <a:lnTo>
                  <a:pt x="2849384" y="56997"/>
                </a:lnTo>
                <a:lnTo>
                  <a:pt x="2853851" y="78884"/>
                </a:lnTo>
                <a:lnTo>
                  <a:pt x="2866009" y="96723"/>
                </a:lnTo>
                <a:lnTo>
                  <a:pt x="2883996" y="108732"/>
                </a:lnTo>
                <a:lnTo>
                  <a:pt x="2905950" y="113131"/>
                </a:lnTo>
                <a:lnTo>
                  <a:pt x="2927904" y="108732"/>
                </a:lnTo>
                <a:lnTo>
                  <a:pt x="2945892" y="96723"/>
                </a:lnTo>
                <a:lnTo>
                  <a:pt x="2958049" y="78884"/>
                </a:lnTo>
                <a:lnTo>
                  <a:pt x="2962516" y="56997"/>
                </a:lnTo>
                <a:lnTo>
                  <a:pt x="2962516" y="56133"/>
                </a:lnTo>
                <a:lnTo>
                  <a:pt x="2957867" y="34247"/>
                </a:lnTo>
                <a:lnTo>
                  <a:pt x="2945406" y="16408"/>
                </a:lnTo>
                <a:lnTo>
                  <a:pt x="2927358" y="4398"/>
                </a:lnTo>
                <a:lnTo>
                  <a:pt x="2905950" y="0"/>
                </a:lnTo>
                <a:close/>
              </a:path>
              <a:path w="8402320" h="113664">
                <a:moveTo>
                  <a:pt x="3164992" y="0"/>
                </a:moveTo>
                <a:lnTo>
                  <a:pt x="3143402" y="4398"/>
                </a:lnTo>
                <a:lnTo>
                  <a:pt x="3125374" y="16408"/>
                </a:lnTo>
                <a:lnTo>
                  <a:pt x="3113014" y="34247"/>
                </a:lnTo>
                <a:lnTo>
                  <a:pt x="3108426" y="56133"/>
                </a:lnTo>
                <a:lnTo>
                  <a:pt x="3108426" y="56997"/>
                </a:lnTo>
                <a:lnTo>
                  <a:pt x="3112893" y="78884"/>
                </a:lnTo>
                <a:lnTo>
                  <a:pt x="3125050" y="96723"/>
                </a:lnTo>
                <a:lnTo>
                  <a:pt x="3143038" y="108732"/>
                </a:lnTo>
                <a:lnTo>
                  <a:pt x="3164992" y="113131"/>
                </a:lnTo>
                <a:lnTo>
                  <a:pt x="3186946" y="108732"/>
                </a:lnTo>
                <a:lnTo>
                  <a:pt x="3204933" y="96723"/>
                </a:lnTo>
                <a:lnTo>
                  <a:pt x="3217091" y="78884"/>
                </a:lnTo>
                <a:lnTo>
                  <a:pt x="3221558" y="56997"/>
                </a:lnTo>
                <a:lnTo>
                  <a:pt x="3221558" y="56133"/>
                </a:lnTo>
                <a:lnTo>
                  <a:pt x="3216909" y="34247"/>
                </a:lnTo>
                <a:lnTo>
                  <a:pt x="3204448" y="16408"/>
                </a:lnTo>
                <a:lnTo>
                  <a:pt x="3186400" y="4398"/>
                </a:lnTo>
                <a:lnTo>
                  <a:pt x="3164992" y="0"/>
                </a:lnTo>
                <a:close/>
              </a:path>
              <a:path w="8402320" h="113664">
                <a:moveTo>
                  <a:pt x="3424021" y="0"/>
                </a:moveTo>
                <a:lnTo>
                  <a:pt x="3402431" y="4398"/>
                </a:lnTo>
                <a:lnTo>
                  <a:pt x="3384403" y="16408"/>
                </a:lnTo>
                <a:lnTo>
                  <a:pt x="3372043" y="34247"/>
                </a:lnTo>
                <a:lnTo>
                  <a:pt x="3367455" y="56133"/>
                </a:lnTo>
                <a:lnTo>
                  <a:pt x="3367455" y="56997"/>
                </a:lnTo>
                <a:lnTo>
                  <a:pt x="3371922" y="78884"/>
                </a:lnTo>
                <a:lnTo>
                  <a:pt x="3384080" y="96723"/>
                </a:lnTo>
                <a:lnTo>
                  <a:pt x="3402067" y="108732"/>
                </a:lnTo>
                <a:lnTo>
                  <a:pt x="3424021" y="113131"/>
                </a:lnTo>
                <a:lnTo>
                  <a:pt x="3445975" y="108732"/>
                </a:lnTo>
                <a:lnTo>
                  <a:pt x="3463963" y="96723"/>
                </a:lnTo>
                <a:lnTo>
                  <a:pt x="3476120" y="78884"/>
                </a:lnTo>
                <a:lnTo>
                  <a:pt x="3480587" y="56997"/>
                </a:lnTo>
                <a:lnTo>
                  <a:pt x="3480587" y="56133"/>
                </a:lnTo>
                <a:lnTo>
                  <a:pt x="3475938" y="34247"/>
                </a:lnTo>
                <a:lnTo>
                  <a:pt x="3463477" y="16408"/>
                </a:lnTo>
                <a:lnTo>
                  <a:pt x="3445429" y="4398"/>
                </a:lnTo>
                <a:lnTo>
                  <a:pt x="3424021" y="0"/>
                </a:lnTo>
                <a:close/>
              </a:path>
              <a:path w="8402320" h="113664">
                <a:moveTo>
                  <a:pt x="3683063" y="0"/>
                </a:moveTo>
                <a:lnTo>
                  <a:pt x="3661473" y="4398"/>
                </a:lnTo>
                <a:lnTo>
                  <a:pt x="3643445" y="16408"/>
                </a:lnTo>
                <a:lnTo>
                  <a:pt x="3631085" y="34247"/>
                </a:lnTo>
                <a:lnTo>
                  <a:pt x="3626497" y="56133"/>
                </a:lnTo>
                <a:lnTo>
                  <a:pt x="3626497" y="56997"/>
                </a:lnTo>
                <a:lnTo>
                  <a:pt x="3630964" y="78884"/>
                </a:lnTo>
                <a:lnTo>
                  <a:pt x="3643122" y="96723"/>
                </a:lnTo>
                <a:lnTo>
                  <a:pt x="3661109" y="108732"/>
                </a:lnTo>
                <a:lnTo>
                  <a:pt x="3683063" y="113131"/>
                </a:lnTo>
                <a:lnTo>
                  <a:pt x="3705017" y="108732"/>
                </a:lnTo>
                <a:lnTo>
                  <a:pt x="3723005" y="96723"/>
                </a:lnTo>
                <a:lnTo>
                  <a:pt x="3735162" y="78884"/>
                </a:lnTo>
                <a:lnTo>
                  <a:pt x="3739629" y="56997"/>
                </a:lnTo>
                <a:lnTo>
                  <a:pt x="3739629" y="56133"/>
                </a:lnTo>
                <a:lnTo>
                  <a:pt x="3734980" y="34247"/>
                </a:lnTo>
                <a:lnTo>
                  <a:pt x="3722519" y="16408"/>
                </a:lnTo>
                <a:lnTo>
                  <a:pt x="3704471" y="4398"/>
                </a:lnTo>
                <a:lnTo>
                  <a:pt x="3683063" y="0"/>
                </a:lnTo>
                <a:close/>
              </a:path>
              <a:path w="8402320" h="113664">
                <a:moveTo>
                  <a:pt x="3942092" y="0"/>
                </a:moveTo>
                <a:lnTo>
                  <a:pt x="3920502" y="4398"/>
                </a:lnTo>
                <a:lnTo>
                  <a:pt x="3902475" y="16408"/>
                </a:lnTo>
                <a:lnTo>
                  <a:pt x="3890114" y="34247"/>
                </a:lnTo>
                <a:lnTo>
                  <a:pt x="3885526" y="56133"/>
                </a:lnTo>
                <a:lnTo>
                  <a:pt x="3885526" y="56997"/>
                </a:lnTo>
                <a:lnTo>
                  <a:pt x="3889993" y="78884"/>
                </a:lnTo>
                <a:lnTo>
                  <a:pt x="3902151" y="96723"/>
                </a:lnTo>
                <a:lnTo>
                  <a:pt x="3920138" y="108732"/>
                </a:lnTo>
                <a:lnTo>
                  <a:pt x="3942092" y="113131"/>
                </a:lnTo>
                <a:lnTo>
                  <a:pt x="3964047" y="108732"/>
                </a:lnTo>
                <a:lnTo>
                  <a:pt x="3982034" y="96723"/>
                </a:lnTo>
                <a:lnTo>
                  <a:pt x="3994192" y="78884"/>
                </a:lnTo>
                <a:lnTo>
                  <a:pt x="3998658" y="56997"/>
                </a:lnTo>
                <a:lnTo>
                  <a:pt x="3998658" y="56133"/>
                </a:lnTo>
                <a:lnTo>
                  <a:pt x="3994009" y="34247"/>
                </a:lnTo>
                <a:lnTo>
                  <a:pt x="3981548" y="16408"/>
                </a:lnTo>
                <a:lnTo>
                  <a:pt x="3963500" y="4398"/>
                </a:lnTo>
                <a:lnTo>
                  <a:pt x="3942092" y="0"/>
                </a:lnTo>
                <a:close/>
              </a:path>
              <a:path w="8402320" h="113664">
                <a:moveTo>
                  <a:pt x="4201134" y="0"/>
                </a:moveTo>
                <a:lnTo>
                  <a:pt x="4179544" y="4398"/>
                </a:lnTo>
                <a:lnTo>
                  <a:pt x="4161516" y="16408"/>
                </a:lnTo>
                <a:lnTo>
                  <a:pt x="4149156" y="34247"/>
                </a:lnTo>
                <a:lnTo>
                  <a:pt x="4144568" y="56133"/>
                </a:lnTo>
                <a:lnTo>
                  <a:pt x="4144568" y="56997"/>
                </a:lnTo>
                <a:lnTo>
                  <a:pt x="4149035" y="78884"/>
                </a:lnTo>
                <a:lnTo>
                  <a:pt x="4161193" y="96723"/>
                </a:lnTo>
                <a:lnTo>
                  <a:pt x="4179180" y="108732"/>
                </a:lnTo>
                <a:lnTo>
                  <a:pt x="4201134" y="113131"/>
                </a:lnTo>
                <a:lnTo>
                  <a:pt x="4223088" y="108732"/>
                </a:lnTo>
                <a:lnTo>
                  <a:pt x="4241076" y="96723"/>
                </a:lnTo>
                <a:lnTo>
                  <a:pt x="4253233" y="78884"/>
                </a:lnTo>
                <a:lnTo>
                  <a:pt x="4257700" y="56997"/>
                </a:lnTo>
                <a:lnTo>
                  <a:pt x="4257700" y="56133"/>
                </a:lnTo>
                <a:lnTo>
                  <a:pt x="4253051" y="34247"/>
                </a:lnTo>
                <a:lnTo>
                  <a:pt x="4240590" y="16408"/>
                </a:lnTo>
                <a:lnTo>
                  <a:pt x="4222542" y="4398"/>
                </a:lnTo>
                <a:lnTo>
                  <a:pt x="4201134" y="0"/>
                </a:lnTo>
                <a:close/>
              </a:path>
              <a:path w="8402320" h="113664">
                <a:moveTo>
                  <a:pt x="4460163" y="0"/>
                </a:moveTo>
                <a:lnTo>
                  <a:pt x="4438573" y="4398"/>
                </a:lnTo>
                <a:lnTo>
                  <a:pt x="4420546" y="16408"/>
                </a:lnTo>
                <a:lnTo>
                  <a:pt x="4408185" y="34247"/>
                </a:lnTo>
                <a:lnTo>
                  <a:pt x="4403598" y="56133"/>
                </a:lnTo>
                <a:lnTo>
                  <a:pt x="4403598" y="56997"/>
                </a:lnTo>
                <a:lnTo>
                  <a:pt x="4408064" y="78884"/>
                </a:lnTo>
                <a:lnTo>
                  <a:pt x="4420222" y="96723"/>
                </a:lnTo>
                <a:lnTo>
                  <a:pt x="4438209" y="108732"/>
                </a:lnTo>
                <a:lnTo>
                  <a:pt x="4460163" y="113131"/>
                </a:lnTo>
                <a:lnTo>
                  <a:pt x="4482118" y="108732"/>
                </a:lnTo>
                <a:lnTo>
                  <a:pt x="4500105" y="96723"/>
                </a:lnTo>
                <a:lnTo>
                  <a:pt x="4512263" y="78884"/>
                </a:lnTo>
                <a:lnTo>
                  <a:pt x="4516729" y="56997"/>
                </a:lnTo>
                <a:lnTo>
                  <a:pt x="4516729" y="56133"/>
                </a:lnTo>
                <a:lnTo>
                  <a:pt x="4512081" y="34247"/>
                </a:lnTo>
                <a:lnTo>
                  <a:pt x="4499619" y="16408"/>
                </a:lnTo>
                <a:lnTo>
                  <a:pt x="4481571" y="4398"/>
                </a:lnTo>
                <a:lnTo>
                  <a:pt x="4460163" y="0"/>
                </a:lnTo>
                <a:close/>
              </a:path>
              <a:path w="8402320" h="113664">
                <a:moveTo>
                  <a:pt x="4719205" y="0"/>
                </a:moveTo>
                <a:lnTo>
                  <a:pt x="4697615" y="4398"/>
                </a:lnTo>
                <a:lnTo>
                  <a:pt x="4679588" y="16408"/>
                </a:lnTo>
                <a:lnTo>
                  <a:pt x="4667227" y="34247"/>
                </a:lnTo>
                <a:lnTo>
                  <a:pt x="4662639" y="56133"/>
                </a:lnTo>
                <a:lnTo>
                  <a:pt x="4662639" y="56997"/>
                </a:lnTo>
                <a:lnTo>
                  <a:pt x="4667106" y="78884"/>
                </a:lnTo>
                <a:lnTo>
                  <a:pt x="4679264" y="96723"/>
                </a:lnTo>
                <a:lnTo>
                  <a:pt x="4697251" y="108732"/>
                </a:lnTo>
                <a:lnTo>
                  <a:pt x="4719205" y="113131"/>
                </a:lnTo>
                <a:lnTo>
                  <a:pt x="4741160" y="108732"/>
                </a:lnTo>
                <a:lnTo>
                  <a:pt x="4759147" y="96723"/>
                </a:lnTo>
                <a:lnTo>
                  <a:pt x="4771305" y="78884"/>
                </a:lnTo>
                <a:lnTo>
                  <a:pt x="4775771" y="56997"/>
                </a:lnTo>
                <a:lnTo>
                  <a:pt x="4775771" y="56133"/>
                </a:lnTo>
                <a:lnTo>
                  <a:pt x="4771122" y="34247"/>
                </a:lnTo>
                <a:lnTo>
                  <a:pt x="4758661" y="16408"/>
                </a:lnTo>
                <a:lnTo>
                  <a:pt x="4740613" y="4398"/>
                </a:lnTo>
                <a:lnTo>
                  <a:pt x="4719205" y="0"/>
                </a:lnTo>
                <a:close/>
              </a:path>
              <a:path w="8402320" h="113664">
                <a:moveTo>
                  <a:pt x="4978234" y="0"/>
                </a:moveTo>
                <a:lnTo>
                  <a:pt x="4956644" y="4398"/>
                </a:lnTo>
                <a:lnTo>
                  <a:pt x="4938617" y="16408"/>
                </a:lnTo>
                <a:lnTo>
                  <a:pt x="4926256" y="34247"/>
                </a:lnTo>
                <a:lnTo>
                  <a:pt x="4921669" y="56133"/>
                </a:lnTo>
                <a:lnTo>
                  <a:pt x="4921669" y="56997"/>
                </a:lnTo>
                <a:lnTo>
                  <a:pt x="4926135" y="78884"/>
                </a:lnTo>
                <a:lnTo>
                  <a:pt x="4938293" y="96723"/>
                </a:lnTo>
                <a:lnTo>
                  <a:pt x="4956280" y="108732"/>
                </a:lnTo>
                <a:lnTo>
                  <a:pt x="4978234" y="113131"/>
                </a:lnTo>
                <a:lnTo>
                  <a:pt x="5000189" y="108732"/>
                </a:lnTo>
                <a:lnTo>
                  <a:pt x="5018176" y="96723"/>
                </a:lnTo>
                <a:lnTo>
                  <a:pt x="5030334" y="78884"/>
                </a:lnTo>
                <a:lnTo>
                  <a:pt x="5034800" y="56997"/>
                </a:lnTo>
                <a:lnTo>
                  <a:pt x="5034800" y="56133"/>
                </a:lnTo>
                <a:lnTo>
                  <a:pt x="5030152" y="34247"/>
                </a:lnTo>
                <a:lnTo>
                  <a:pt x="5017690" y="16408"/>
                </a:lnTo>
                <a:lnTo>
                  <a:pt x="4999642" y="4398"/>
                </a:lnTo>
                <a:lnTo>
                  <a:pt x="4978234" y="0"/>
                </a:lnTo>
                <a:close/>
              </a:path>
              <a:path w="8402320" h="113664">
                <a:moveTo>
                  <a:pt x="5237276" y="0"/>
                </a:moveTo>
                <a:lnTo>
                  <a:pt x="5215686" y="4398"/>
                </a:lnTo>
                <a:lnTo>
                  <a:pt x="5197659" y="16408"/>
                </a:lnTo>
                <a:lnTo>
                  <a:pt x="5185298" y="34247"/>
                </a:lnTo>
                <a:lnTo>
                  <a:pt x="5180711" y="56133"/>
                </a:lnTo>
                <a:lnTo>
                  <a:pt x="5180711" y="56997"/>
                </a:lnTo>
                <a:lnTo>
                  <a:pt x="5185177" y="78884"/>
                </a:lnTo>
                <a:lnTo>
                  <a:pt x="5197335" y="96723"/>
                </a:lnTo>
                <a:lnTo>
                  <a:pt x="5215322" y="108732"/>
                </a:lnTo>
                <a:lnTo>
                  <a:pt x="5237276" y="113131"/>
                </a:lnTo>
                <a:lnTo>
                  <a:pt x="5259231" y="108732"/>
                </a:lnTo>
                <a:lnTo>
                  <a:pt x="5277218" y="96723"/>
                </a:lnTo>
                <a:lnTo>
                  <a:pt x="5289376" y="78884"/>
                </a:lnTo>
                <a:lnTo>
                  <a:pt x="5293842" y="56997"/>
                </a:lnTo>
                <a:lnTo>
                  <a:pt x="5293842" y="56133"/>
                </a:lnTo>
                <a:lnTo>
                  <a:pt x="5289194" y="34247"/>
                </a:lnTo>
                <a:lnTo>
                  <a:pt x="5276732" y="16408"/>
                </a:lnTo>
                <a:lnTo>
                  <a:pt x="5258684" y="4398"/>
                </a:lnTo>
                <a:lnTo>
                  <a:pt x="5237276" y="0"/>
                </a:lnTo>
                <a:close/>
              </a:path>
              <a:path w="8402320" h="113664">
                <a:moveTo>
                  <a:pt x="5496306" y="0"/>
                </a:moveTo>
                <a:lnTo>
                  <a:pt x="5474716" y="4398"/>
                </a:lnTo>
                <a:lnTo>
                  <a:pt x="5456688" y="16408"/>
                </a:lnTo>
                <a:lnTo>
                  <a:pt x="5444328" y="34247"/>
                </a:lnTo>
                <a:lnTo>
                  <a:pt x="5439740" y="56133"/>
                </a:lnTo>
                <a:lnTo>
                  <a:pt x="5439740" y="56997"/>
                </a:lnTo>
                <a:lnTo>
                  <a:pt x="5444206" y="78884"/>
                </a:lnTo>
                <a:lnTo>
                  <a:pt x="5456364" y="96723"/>
                </a:lnTo>
                <a:lnTo>
                  <a:pt x="5474351" y="108732"/>
                </a:lnTo>
                <a:lnTo>
                  <a:pt x="5496306" y="113131"/>
                </a:lnTo>
                <a:lnTo>
                  <a:pt x="5518260" y="108732"/>
                </a:lnTo>
                <a:lnTo>
                  <a:pt x="5536247" y="96723"/>
                </a:lnTo>
                <a:lnTo>
                  <a:pt x="5548405" y="78884"/>
                </a:lnTo>
                <a:lnTo>
                  <a:pt x="5552871" y="56997"/>
                </a:lnTo>
                <a:lnTo>
                  <a:pt x="5552871" y="56133"/>
                </a:lnTo>
                <a:lnTo>
                  <a:pt x="5548223" y="34247"/>
                </a:lnTo>
                <a:lnTo>
                  <a:pt x="5535761" y="16408"/>
                </a:lnTo>
                <a:lnTo>
                  <a:pt x="5517713" y="4398"/>
                </a:lnTo>
                <a:lnTo>
                  <a:pt x="5496306" y="0"/>
                </a:lnTo>
                <a:close/>
              </a:path>
              <a:path w="8402320" h="113664">
                <a:moveTo>
                  <a:pt x="5755347" y="0"/>
                </a:moveTo>
                <a:lnTo>
                  <a:pt x="5733757" y="4398"/>
                </a:lnTo>
                <a:lnTo>
                  <a:pt x="5715730" y="16408"/>
                </a:lnTo>
                <a:lnTo>
                  <a:pt x="5703369" y="34247"/>
                </a:lnTo>
                <a:lnTo>
                  <a:pt x="5698782" y="56133"/>
                </a:lnTo>
                <a:lnTo>
                  <a:pt x="5698782" y="56997"/>
                </a:lnTo>
                <a:lnTo>
                  <a:pt x="5703248" y="78884"/>
                </a:lnTo>
                <a:lnTo>
                  <a:pt x="5715406" y="96723"/>
                </a:lnTo>
                <a:lnTo>
                  <a:pt x="5733393" y="108732"/>
                </a:lnTo>
                <a:lnTo>
                  <a:pt x="5755347" y="113131"/>
                </a:lnTo>
                <a:lnTo>
                  <a:pt x="5777302" y="108732"/>
                </a:lnTo>
                <a:lnTo>
                  <a:pt x="5795289" y="96723"/>
                </a:lnTo>
                <a:lnTo>
                  <a:pt x="5807447" y="78884"/>
                </a:lnTo>
                <a:lnTo>
                  <a:pt x="5811913" y="56997"/>
                </a:lnTo>
                <a:lnTo>
                  <a:pt x="5811913" y="56133"/>
                </a:lnTo>
                <a:lnTo>
                  <a:pt x="5807265" y="34247"/>
                </a:lnTo>
                <a:lnTo>
                  <a:pt x="5794803" y="16408"/>
                </a:lnTo>
                <a:lnTo>
                  <a:pt x="5776755" y="4398"/>
                </a:lnTo>
                <a:lnTo>
                  <a:pt x="5755347" y="0"/>
                </a:lnTo>
                <a:close/>
              </a:path>
              <a:path w="8402320" h="113664">
                <a:moveTo>
                  <a:pt x="6014377" y="0"/>
                </a:moveTo>
                <a:lnTo>
                  <a:pt x="5992787" y="4398"/>
                </a:lnTo>
                <a:lnTo>
                  <a:pt x="5974759" y="16408"/>
                </a:lnTo>
                <a:lnTo>
                  <a:pt x="5962399" y="34247"/>
                </a:lnTo>
                <a:lnTo>
                  <a:pt x="5957811" y="56133"/>
                </a:lnTo>
                <a:lnTo>
                  <a:pt x="5957811" y="56997"/>
                </a:lnTo>
                <a:lnTo>
                  <a:pt x="5962277" y="78884"/>
                </a:lnTo>
                <a:lnTo>
                  <a:pt x="5974435" y="96723"/>
                </a:lnTo>
                <a:lnTo>
                  <a:pt x="5992422" y="108732"/>
                </a:lnTo>
                <a:lnTo>
                  <a:pt x="6014377" y="113131"/>
                </a:lnTo>
                <a:lnTo>
                  <a:pt x="6036331" y="108732"/>
                </a:lnTo>
                <a:lnTo>
                  <a:pt x="6054318" y="96723"/>
                </a:lnTo>
                <a:lnTo>
                  <a:pt x="6066476" y="78884"/>
                </a:lnTo>
                <a:lnTo>
                  <a:pt x="6070942" y="56997"/>
                </a:lnTo>
                <a:lnTo>
                  <a:pt x="6070942" y="56133"/>
                </a:lnTo>
                <a:lnTo>
                  <a:pt x="6066294" y="34247"/>
                </a:lnTo>
                <a:lnTo>
                  <a:pt x="6053832" y="16408"/>
                </a:lnTo>
                <a:lnTo>
                  <a:pt x="6035784" y="4398"/>
                </a:lnTo>
                <a:lnTo>
                  <a:pt x="6014377" y="0"/>
                </a:lnTo>
                <a:close/>
              </a:path>
              <a:path w="8402320" h="113664">
                <a:moveTo>
                  <a:pt x="6273419" y="0"/>
                </a:moveTo>
                <a:lnTo>
                  <a:pt x="6251829" y="4398"/>
                </a:lnTo>
                <a:lnTo>
                  <a:pt x="6233801" y="16408"/>
                </a:lnTo>
                <a:lnTo>
                  <a:pt x="6221441" y="34247"/>
                </a:lnTo>
                <a:lnTo>
                  <a:pt x="6216853" y="56133"/>
                </a:lnTo>
                <a:lnTo>
                  <a:pt x="6216853" y="56997"/>
                </a:lnTo>
                <a:lnTo>
                  <a:pt x="6221319" y="78884"/>
                </a:lnTo>
                <a:lnTo>
                  <a:pt x="6233477" y="96723"/>
                </a:lnTo>
                <a:lnTo>
                  <a:pt x="6251464" y="108732"/>
                </a:lnTo>
                <a:lnTo>
                  <a:pt x="6273419" y="113131"/>
                </a:lnTo>
                <a:lnTo>
                  <a:pt x="6295373" y="108732"/>
                </a:lnTo>
                <a:lnTo>
                  <a:pt x="6313360" y="96723"/>
                </a:lnTo>
                <a:lnTo>
                  <a:pt x="6325518" y="78884"/>
                </a:lnTo>
                <a:lnTo>
                  <a:pt x="6329984" y="56997"/>
                </a:lnTo>
                <a:lnTo>
                  <a:pt x="6329984" y="56133"/>
                </a:lnTo>
                <a:lnTo>
                  <a:pt x="6325336" y="34247"/>
                </a:lnTo>
                <a:lnTo>
                  <a:pt x="6312874" y="16408"/>
                </a:lnTo>
                <a:lnTo>
                  <a:pt x="6294826" y="4398"/>
                </a:lnTo>
                <a:lnTo>
                  <a:pt x="6273419" y="0"/>
                </a:lnTo>
                <a:close/>
              </a:path>
              <a:path w="8402320" h="113664">
                <a:moveTo>
                  <a:pt x="6532448" y="0"/>
                </a:moveTo>
                <a:lnTo>
                  <a:pt x="6510858" y="4398"/>
                </a:lnTo>
                <a:lnTo>
                  <a:pt x="6492830" y="16408"/>
                </a:lnTo>
                <a:lnTo>
                  <a:pt x="6480470" y="34247"/>
                </a:lnTo>
                <a:lnTo>
                  <a:pt x="6475882" y="56133"/>
                </a:lnTo>
                <a:lnTo>
                  <a:pt x="6475882" y="56997"/>
                </a:lnTo>
                <a:lnTo>
                  <a:pt x="6480348" y="78884"/>
                </a:lnTo>
                <a:lnTo>
                  <a:pt x="6492506" y="96723"/>
                </a:lnTo>
                <a:lnTo>
                  <a:pt x="6510493" y="108732"/>
                </a:lnTo>
                <a:lnTo>
                  <a:pt x="6532448" y="113131"/>
                </a:lnTo>
                <a:lnTo>
                  <a:pt x="6554402" y="108732"/>
                </a:lnTo>
                <a:lnTo>
                  <a:pt x="6572389" y="96723"/>
                </a:lnTo>
                <a:lnTo>
                  <a:pt x="6584547" y="78884"/>
                </a:lnTo>
                <a:lnTo>
                  <a:pt x="6589013" y="56997"/>
                </a:lnTo>
                <a:lnTo>
                  <a:pt x="6589013" y="56133"/>
                </a:lnTo>
                <a:lnTo>
                  <a:pt x="6584365" y="34247"/>
                </a:lnTo>
                <a:lnTo>
                  <a:pt x="6571903" y="16408"/>
                </a:lnTo>
                <a:lnTo>
                  <a:pt x="6553856" y="4398"/>
                </a:lnTo>
                <a:lnTo>
                  <a:pt x="6532448" y="0"/>
                </a:lnTo>
                <a:close/>
              </a:path>
              <a:path w="8402320" h="113664">
                <a:moveTo>
                  <a:pt x="6791490" y="0"/>
                </a:moveTo>
                <a:lnTo>
                  <a:pt x="6769900" y="4398"/>
                </a:lnTo>
                <a:lnTo>
                  <a:pt x="6751872" y="16408"/>
                </a:lnTo>
                <a:lnTo>
                  <a:pt x="6739512" y="34247"/>
                </a:lnTo>
                <a:lnTo>
                  <a:pt x="6734924" y="56133"/>
                </a:lnTo>
                <a:lnTo>
                  <a:pt x="6734924" y="56997"/>
                </a:lnTo>
                <a:lnTo>
                  <a:pt x="6739390" y="78884"/>
                </a:lnTo>
                <a:lnTo>
                  <a:pt x="6751548" y="96723"/>
                </a:lnTo>
                <a:lnTo>
                  <a:pt x="6769535" y="108732"/>
                </a:lnTo>
                <a:lnTo>
                  <a:pt x="6791490" y="113131"/>
                </a:lnTo>
                <a:lnTo>
                  <a:pt x="6813444" y="108732"/>
                </a:lnTo>
                <a:lnTo>
                  <a:pt x="6831431" y="96723"/>
                </a:lnTo>
                <a:lnTo>
                  <a:pt x="6843589" y="78884"/>
                </a:lnTo>
                <a:lnTo>
                  <a:pt x="6848055" y="56997"/>
                </a:lnTo>
                <a:lnTo>
                  <a:pt x="6848055" y="56133"/>
                </a:lnTo>
                <a:lnTo>
                  <a:pt x="6843407" y="34247"/>
                </a:lnTo>
                <a:lnTo>
                  <a:pt x="6830945" y="16408"/>
                </a:lnTo>
                <a:lnTo>
                  <a:pt x="6812897" y="4398"/>
                </a:lnTo>
                <a:lnTo>
                  <a:pt x="6791490" y="0"/>
                </a:lnTo>
                <a:close/>
              </a:path>
              <a:path w="8402320" h="113664">
                <a:moveTo>
                  <a:pt x="7050519" y="0"/>
                </a:moveTo>
                <a:lnTo>
                  <a:pt x="7028929" y="4398"/>
                </a:lnTo>
                <a:lnTo>
                  <a:pt x="7010901" y="16408"/>
                </a:lnTo>
                <a:lnTo>
                  <a:pt x="6998541" y="34247"/>
                </a:lnTo>
                <a:lnTo>
                  <a:pt x="6993953" y="56133"/>
                </a:lnTo>
                <a:lnTo>
                  <a:pt x="6993953" y="56997"/>
                </a:lnTo>
                <a:lnTo>
                  <a:pt x="6998419" y="78884"/>
                </a:lnTo>
                <a:lnTo>
                  <a:pt x="7010577" y="96723"/>
                </a:lnTo>
                <a:lnTo>
                  <a:pt x="7028564" y="108732"/>
                </a:lnTo>
                <a:lnTo>
                  <a:pt x="7050519" y="113131"/>
                </a:lnTo>
                <a:lnTo>
                  <a:pt x="7072473" y="108732"/>
                </a:lnTo>
                <a:lnTo>
                  <a:pt x="7090460" y="96723"/>
                </a:lnTo>
                <a:lnTo>
                  <a:pt x="7102618" y="78884"/>
                </a:lnTo>
                <a:lnTo>
                  <a:pt x="7107085" y="56997"/>
                </a:lnTo>
                <a:lnTo>
                  <a:pt x="7107085" y="56133"/>
                </a:lnTo>
                <a:lnTo>
                  <a:pt x="7102436" y="34247"/>
                </a:lnTo>
                <a:lnTo>
                  <a:pt x="7089975" y="16408"/>
                </a:lnTo>
                <a:lnTo>
                  <a:pt x="7071927" y="4398"/>
                </a:lnTo>
                <a:lnTo>
                  <a:pt x="7050519" y="0"/>
                </a:lnTo>
                <a:close/>
              </a:path>
              <a:path w="8402320" h="113664">
                <a:moveTo>
                  <a:pt x="7309561" y="0"/>
                </a:moveTo>
                <a:lnTo>
                  <a:pt x="7287971" y="4398"/>
                </a:lnTo>
                <a:lnTo>
                  <a:pt x="7269943" y="16408"/>
                </a:lnTo>
                <a:lnTo>
                  <a:pt x="7257583" y="34247"/>
                </a:lnTo>
                <a:lnTo>
                  <a:pt x="7252995" y="56133"/>
                </a:lnTo>
                <a:lnTo>
                  <a:pt x="7252995" y="56997"/>
                </a:lnTo>
                <a:lnTo>
                  <a:pt x="7257461" y="78884"/>
                </a:lnTo>
                <a:lnTo>
                  <a:pt x="7269619" y="96723"/>
                </a:lnTo>
                <a:lnTo>
                  <a:pt x="7287606" y="108732"/>
                </a:lnTo>
                <a:lnTo>
                  <a:pt x="7309561" y="113131"/>
                </a:lnTo>
                <a:lnTo>
                  <a:pt x="7331515" y="108732"/>
                </a:lnTo>
                <a:lnTo>
                  <a:pt x="7349502" y="96723"/>
                </a:lnTo>
                <a:lnTo>
                  <a:pt x="7361660" y="78884"/>
                </a:lnTo>
                <a:lnTo>
                  <a:pt x="7366127" y="56997"/>
                </a:lnTo>
                <a:lnTo>
                  <a:pt x="7366127" y="56133"/>
                </a:lnTo>
                <a:lnTo>
                  <a:pt x="7361478" y="34247"/>
                </a:lnTo>
                <a:lnTo>
                  <a:pt x="7349016" y="16408"/>
                </a:lnTo>
                <a:lnTo>
                  <a:pt x="7330969" y="4398"/>
                </a:lnTo>
                <a:lnTo>
                  <a:pt x="7309561" y="0"/>
                </a:lnTo>
                <a:close/>
              </a:path>
              <a:path w="8402320" h="113664">
                <a:moveTo>
                  <a:pt x="7568590" y="0"/>
                </a:moveTo>
                <a:lnTo>
                  <a:pt x="7547000" y="4398"/>
                </a:lnTo>
                <a:lnTo>
                  <a:pt x="7528972" y="16408"/>
                </a:lnTo>
                <a:lnTo>
                  <a:pt x="7516612" y="34247"/>
                </a:lnTo>
                <a:lnTo>
                  <a:pt x="7512024" y="56133"/>
                </a:lnTo>
                <a:lnTo>
                  <a:pt x="7512024" y="56997"/>
                </a:lnTo>
                <a:lnTo>
                  <a:pt x="7516491" y="78884"/>
                </a:lnTo>
                <a:lnTo>
                  <a:pt x="7528648" y="96723"/>
                </a:lnTo>
                <a:lnTo>
                  <a:pt x="7546636" y="108732"/>
                </a:lnTo>
                <a:lnTo>
                  <a:pt x="7568590" y="113131"/>
                </a:lnTo>
                <a:lnTo>
                  <a:pt x="7590544" y="108732"/>
                </a:lnTo>
                <a:lnTo>
                  <a:pt x="7608531" y="96723"/>
                </a:lnTo>
                <a:lnTo>
                  <a:pt x="7620689" y="78884"/>
                </a:lnTo>
                <a:lnTo>
                  <a:pt x="7625156" y="56997"/>
                </a:lnTo>
                <a:lnTo>
                  <a:pt x="7625156" y="56133"/>
                </a:lnTo>
                <a:lnTo>
                  <a:pt x="7620507" y="34247"/>
                </a:lnTo>
                <a:lnTo>
                  <a:pt x="7608046" y="16408"/>
                </a:lnTo>
                <a:lnTo>
                  <a:pt x="7589998" y="4398"/>
                </a:lnTo>
                <a:lnTo>
                  <a:pt x="7568590" y="0"/>
                </a:lnTo>
                <a:close/>
              </a:path>
              <a:path w="8402320" h="113664">
                <a:moveTo>
                  <a:pt x="7827632" y="0"/>
                </a:moveTo>
                <a:lnTo>
                  <a:pt x="7806042" y="4398"/>
                </a:lnTo>
                <a:lnTo>
                  <a:pt x="7788014" y="16408"/>
                </a:lnTo>
                <a:lnTo>
                  <a:pt x="7775654" y="34247"/>
                </a:lnTo>
                <a:lnTo>
                  <a:pt x="7771066" y="56133"/>
                </a:lnTo>
                <a:lnTo>
                  <a:pt x="7771066" y="56997"/>
                </a:lnTo>
                <a:lnTo>
                  <a:pt x="7775532" y="78884"/>
                </a:lnTo>
                <a:lnTo>
                  <a:pt x="7787690" y="96723"/>
                </a:lnTo>
                <a:lnTo>
                  <a:pt x="7805677" y="108732"/>
                </a:lnTo>
                <a:lnTo>
                  <a:pt x="7827632" y="113131"/>
                </a:lnTo>
                <a:lnTo>
                  <a:pt x="7849586" y="108732"/>
                </a:lnTo>
                <a:lnTo>
                  <a:pt x="7867573" y="96723"/>
                </a:lnTo>
                <a:lnTo>
                  <a:pt x="7879731" y="78884"/>
                </a:lnTo>
                <a:lnTo>
                  <a:pt x="7884198" y="56997"/>
                </a:lnTo>
                <a:lnTo>
                  <a:pt x="7884198" y="56133"/>
                </a:lnTo>
                <a:lnTo>
                  <a:pt x="7879549" y="34247"/>
                </a:lnTo>
                <a:lnTo>
                  <a:pt x="7867088" y="16408"/>
                </a:lnTo>
                <a:lnTo>
                  <a:pt x="7849040" y="4398"/>
                </a:lnTo>
                <a:lnTo>
                  <a:pt x="7827632" y="0"/>
                </a:lnTo>
                <a:close/>
              </a:path>
              <a:path w="8402320" h="113664">
                <a:moveTo>
                  <a:pt x="8086661" y="0"/>
                </a:moveTo>
                <a:lnTo>
                  <a:pt x="8065071" y="4398"/>
                </a:lnTo>
                <a:lnTo>
                  <a:pt x="8047043" y="16408"/>
                </a:lnTo>
                <a:lnTo>
                  <a:pt x="8034683" y="34247"/>
                </a:lnTo>
                <a:lnTo>
                  <a:pt x="8030095" y="56133"/>
                </a:lnTo>
                <a:lnTo>
                  <a:pt x="8030095" y="56997"/>
                </a:lnTo>
                <a:lnTo>
                  <a:pt x="8034562" y="78884"/>
                </a:lnTo>
                <a:lnTo>
                  <a:pt x="8046719" y="96723"/>
                </a:lnTo>
                <a:lnTo>
                  <a:pt x="8064707" y="108732"/>
                </a:lnTo>
                <a:lnTo>
                  <a:pt x="8086661" y="113131"/>
                </a:lnTo>
                <a:lnTo>
                  <a:pt x="8108615" y="108732"/>
                </a:lnTo>
                <a:lnTo>
                  <a:pt x="8126603" y="96723"/>
                </a:lnTo>
                <a:lnTo>
                  <a:pt x="8138760" y="78884"/>
                </a:lnTo>
                <a:lnTo>
                  <a:pt x="8143227" y="56997"/>
                </a:lnTo>
                <a:lnTo>
                  <a:pt x="8143227" y="56133"/>
                </a:lnTo>
                <a:lnTo>
                  <a:pt x="8138578" y="34247"/>
                </a:lnTo>
                <a:lnTo>
                  <a:pt x="8126117" y="16408"/>
                </a:lnTo>
                <a:lnTo>
                  <a:pt x="8108069" y="4398"/>
                </a:lnTo>
                <a:lnTo>
                  <a:pt x="8086661" y="0"/>
                </a:lnTo>
                <a:close/>
              </a:path>
              <a:path w="8402320" h="113664">
                <a:moveTo>
                  <a:pt x="8345703" y="0"/>
                </a:moveTo>
                <a:lnTo>
                  <a:pt x="8324113" y="4398"/>
                </a:lnTo>
                <a:lnTo>
                  <a:pt x="8306085" y="16408"/>
                </a:lnTo>
                <a:lnTo>
                  <a:pt x="8293725" y="34247"/>
                </a:lnTo>
                <a:lnTo>
                  <a:pt x="8289137" y="56133"/>
                </a:lnTo>
                <a:lnTo>
                  <a:pt x="8289137" y="56997"/>
                </a:lnTo>
                <a:lnTo>
                  <a:pt x="8293604" y="78884"/>
                </a:lnTo>
                <a:lnTo>
                  <a:pt x="8305761" y="96723"/>
                </a:lnTo>
                <a:lnTo>
                  <a:pt x="8323749" y="108732"/>
                </a:lnTo>
                <a:lnTo>
                  <a:pt x="8345703" y="113131"/>
                </a:lnTo>
                <a:lnTo>
                  <a:pt x="8367657" y="108732"/>
                </a:lnTo>
                <a:lnTo>
                  <a:pt x="8385644" y="96723"/>
                </a:lnTo>
                <a:lnTo>
                  <a:pt x="8397802" y="78884"/>
                </a:lnTo>
                <a:lnTo>
                  <a:pt x="8402269" y="56997"/>
                </a:lnTo>
                <a:lnTo>
                  <a:pt x="8402269" y="56133"/>
                </a:lnTo>
                <a:lnTo>
                  <a:pt x="8397620" y="34247"/>
                </a:lnTo>
                <a:lnTo>
                  <a:pt x="8385159" y="16408"/>
                </a:lnTo>
                <a:lnTo>
                  <a:pt x="8367111" y="4398"/>
                </a:lnTo>
                <a:lnTo>
                  <a:pt x="8345703" y="0"/>
                </a:lnTo>
                <a:close/>
              </a:path>
            </a:pathLst>
          </a:custGeom>
          <a:solidFill>
            <a:srgbClr val="E2E3E4"/>
          </a:solidFill>
        </p:spPr>
        <p:txBody>
          <a:bodyPr wrap="square" lIns="0" tIns="0" rIns="0" bIns="0" rtlCol="0"/>
          <a:lstStyle/>
          <a:p>
            <a:endParaRPr sz="1800"/>
          </a:p>
        </p:txBody>
      </p:sp>
      <p:sp>
        <p:nvSpPr>
          <p:cNvPr id="16" name="object 3"/>
          <p:cNvSpPr/>
          <p:nvPr userDrawn="1"/>
        </p:nvSpPr>
        <p:spPr>
          <a:xfrm>
            <a:off x="494490" y="6143980"/>
            <a:ext cx="11203093" cy="113664"/>
          </a:xfrm>
          <a:custGeom>
            <a:avLst/>
            <a:gdLst/>
            <a:ahLst/>
            <a:cxnLst/>
            <a:rect l="l" t="t" r="r" b="b"/>
            <a:pathLst>
              <a:path w="8402320" h="113664">
                <a:moveTo>
                  <a:pt x="56565" y="0"/>
                </a:moveTo>
                <a:lnTo>
                  <a:pt x="34975" y="4398"/>
                </a:lnTo>
                <a:lnTo>
                  <a:pt x="16948" y="16408"/>
                </a:lnTo>
                <a:lnTo>
                  <a:pt x="4587" y="34247"/>
                </a:lnTo>
                <a:lnTo>
                  <a:pt x="0" y="56133"/>
                </a:lnTo>
                <a:lnTo>
                  <a:pt x="0" y="56997"/>
                </a:lnTo>
                <a:lnTo>
                  <a:pt x="4466" y="78884"/>
                </a:lnTo>
                <a:lnTo>
                  <a:pt x="16624" y="96723"/>
                </a:lnTo>
                <a:lnTo>
                  <a:pt x="34611" y="108732"/>
                </a:lnTo>
                <a:lnTo>
                  <a:pt x="56565" y="113131"/>
                </a:lnTo>
                <a:lnTo>
                  <a:pt x="78520" y="108732"/>
                </a:lnTo>
                <a:lnTo>
                  <a:pt x="96507" y="96723"/>
                </a:lnTo>
                <a:lnTo>
                  <a:pt x="108665" y="78884"/>
                </a:lnTo>
                <a:lnTo>
                  <a:pt x="113131" y="56997"/>
                </a:lnTo>
                <a:lnTo>
                  <a:pt x="113131" y="56133"/>
                </a:lnTo>
                <a:lnTo>
                  <a:pt x="108483" y="34247"/>
                </a:lnTo>
                <a:lnTo>
                  <a:pt x="96021" y="16408"/>
                </a:lnTo>
                <a:lnTo>
                  <a:pt x="77973" y="4398"/>
                </a:lnTo>
                <a:lnTo>
                  <a:pt x="56565" y="0"/>
                </a:lnTo>
                <a:close/>
              </a:path>
              <a:path w="8402320" h="113664">
                <a:moveTo>
                  <a:pt x="315595" y="0"/>
                </a:moveTo>
                <a:lnTo>
                  <a:pt x="294005" y="4398"/>
                </a:lnTo>
                <a:lnTo>
                  <a:pt x="275977" y="16408"/>
                </a:lnTo>
                <a:lnTo>
                  <a:pt x="263617" y="34247"/>
                </a:lnTo>
                <a:lnTo>
                  <a:pt x="259029" y="56133"/>
                </a:lnTo>
                <a:lnTo>
                  <a:pt x="259029" y="56997"/>
                </a:lnTo>
                <a:lnTo>
                  <a:pt x="263495" y="78884"/>
                </a:lnTo>
                <a:lnTo>
                  <a:pt x="275653" y="96723"/>
                </a:lnTo>
                <a:lnTo>
                  <a:pt x="293640" y="108732"/>
                </a:lnTo>
                <a:lnTo>
                  <a:pt x="315595" y="113131"/>
                </a:lnTo>
                <a:lnTo>
                  <a:pt x="337549" y="108732"/>
                </a:lnTo>
                <a:lnTo>
                  <a:pt x="355536" y="96723"/>
                </a:lnTo>
                <a:lnTo>
                  <a:pt x="367694" y="78884"/>
                </a:lnTo>
                <a:lnTo>
                  <a:pt x="372160" y="56997"/>
                </a:lnTo>
                <a:lnTo>
                  <a:pt x="372160" y="56133"/>
                </a:lnTo>
                <a:lnTo>
                  <a:pt x="367512" y="34247"/>
                </a:lnTo>
                <a:lnTo>
                  <a:pt x="355050" y="16408"/>
                </a:lnTo>
                <a:lnTo>
                  <a:pt x="337002" y="4398"/>
                </a:lnTo>
                <a:lnTo>
                  <a:pt x="315595" y="0"/>
                </a:lnTo>
                <a:close/>
              </a:path>
              <a:path w="8402320" h="113664">
                <a:moveTo>
                  <a:pt x="574636" y="0"/>
                </a:moveTo>
                <a:lnTo>
                  <a:pt x="553046" y="4398"/>
                </a:lnTo>
                <a:lnTo>
                  <a:pt x="535019" y="16408"/>
                </a:lnTo>
                <a:lnTo>
                  <a:pt x="522658" y="34247"/>
                </a:lnTo>
                <a:lnTo>
                  <a:pt x="518071" y="56133"/>
                </a:lnTo>
                <a:lnTo>
                  <a:pt x="518071" y="56997"/>
                </a:lnTo>
                <a:lnTo>
                  <a:pt x="522537" y="78884"/>
                </a:lnTo>
                <a:lnTo>
                  <a:pt x="534695" y="96723"/>
                </a:lnTo>
                <a:lnTo>
                  <a:pt x="552682" y="108732"/>
                </a:lnTo>
                <a:lnTo>
                  <a:pt x="574636" y="113131"/>
                </a:lnTo>
                <a:lnTo>
                  <a:pt x="596591" y="108732"/>
                </a:lnTo>
                <a:lnTo>
                  <a:pt x="614578" y="96723"/>
                </a:lnTo>
                <a:lnTo>
                  <a:pt x="626736" y="78884"/>
                </a:lnTo>
                <a:lnTo>
                  <a:pt x="631202" y="56997"/>
                </a:lnTo>
                <a:lnTo>
                  <a:pt x="631202" y="56133"/>
                </a:lnTo>
                <a:lnTo>
                  <a:pt x="626554" y="34247"/>
                </a:lnTo>
                <a:lnTo>
                  <a:pt x="614092" y="16408"/>
                </a:lnTo>
                <a:lnTo>
                  <a:pt x="596044" y="4398"/>
                </a:lnTo>
                <a:lnTo>
                  <a:pt x="574636" y="0"/>
                </a:lnTo>
                <a:close/>
              </a:path>
              <a:path w="8402320" h="113664">
                <a:moveTo>
                  <a:pt x="833666" y="0"/>
                </a:moveTo>
                <a:lnTo>
                  <a:pt x="812076" y="4398"/>
                </a:lnTo>
                <a:lnTo>
                  <a:pt x="794048" y="16408"/>
                </a:lnTo>
                <a:lnTo>
                  <a:pt x="781688" y="34247"/>
                </a:lnTo>
                <a:lnTo>
                  <a:pt x="777100" y="56133"/>
                </a:lnTo>
                <a:lnTo>
                  <a:pt x="777100" y="56997"/>
                </a:lnTo>
                <a:lnTo>
                  <a:pt x="781566" y="78884"/>
                </a:lnTo>
                <a:lnTo>
                  <a:pt x="793724" y="96723"/>
                </a:lnTo>
                <a:lnTo>
                  <a:pt x="811711" y="108732"/>
                </a:lnTo>
                <a:lnTo>
                  <a:pt x="833666" y="113131"/>
                </a:lnTo>
                <a:lnTo>
                  <a:pt x="855620" y="108732"/>
                </a:lnTo>
                <a:lnTo>
                  <a:pt x="873607" y="96723"/>
                </a:lnTo>
                <a:lnTo>
                  <a:pt x="885765" y="78884"/>
                </a:lnTo>
                <a:lnTo>
                  <a:pt x="890231" y="56997"/>
                </a:lnTo>
                <a:lnTo>
                  <a:pt x="890231" y="56133"/>
                </a:lnTo>
                <a:lnTo>
                  <a:pt x="885583" y="34247"/>
                </a:lnTo>
                <a:lnTo>
                  <a:pt x="873121" y="16408"/>
                </a:lnTo>
                <a:lnTo>
                  <a:pt x="855073" y="4398"/>
                </a:lnTo>
                <a:lnTo>
                  <a:pt x="833666" y="0"/>
                </a:lnTo>
                <a:close/>
              </a:path>
              <a:path w="8402320" h="113664">
                <a:moveTo>
                  <a:pt x="1092708" y="0"/>
                </a:moveTo>
                <a:lnTo>
                  <a:pt x="1071118" y="4398"/>
                </a:lnTo>
                <a:lnTo>
                  <a:pt x="1053090" y="16408"/>
                </a:lnTo>
                <a:lnTo>
                  <a:pt x="1040730" y="34247"/>
                </a:lnTo>
                <a:lnTo>
                  <a:pt x="1036142" y="56133"/>
                </a:lnTo>
                <a:lnTo>
                  <a:pt x="1036142" y="56997"/>
                </a:lnTo>
                <a:lnTo>
                  <a:pt x="1040608" y="78884"/>
                </a:lnTo>
                <a:lnTo>
                  <a:pt x="1052766" y="96723"/>
                </a:lnTo>
                <a:lnTo>
                  <a:pt x="1070753" y="108732"/>
                </a:lnTo>
                <a:lnTo>
                  <a:pt x="1092708" y="113131"/>
                </a:lnTo>
                <a:lnTo>
                  <a:pt x="1114662" y="108732"/>
                </a:lnTo>
                <a:lnTo>
                  <a:pt x="1132649" y="96723"/>
                </a:lnTo>
                <a:lnTo>
                  <a:pt x="1144807" y="78884"/>
                </a:lnTo>
                <a:lnTo>
                  <a:pt x="1149273" y="56997"/>
                </a:lnTo>
                <a:lnTo>
                  <a:pt x="1149273" y="56133"/>
                </a:lnTo>
                <a:lnTo>
                  <a:pt x="1144625" y="34247"/>
                </a:lnTo>
                <a:lnTo>
                  <a:pt x="1132163" y="16408"/>
                </a:lnTo>
                <a:lnTo>
                  <a:pt x="1114115" y="4398"/>
                </a:lnTo>
                <a:lnTo>
                  <a:pt x="1092708" y="0"/>
                </a:lnTo>
                <a:close/>
              </a:path>
              <a:path w="8402320" h="113664">
                <a:moveTo>
                  <a:pt x="1351737" y="0"/>
                </a:moveTo>
                <a:lnTo>
                  <a:pt x="1330147" y="4398"/>
                </a:lnTo>
                <a:lnTo>
                  <a:pt x="1312119" y="16408"/>
                </a:lnTo>
                <a:lnTo>
                  <a:pt x="1299759" y="34247"/>
                </a:lnTo>
                <a:lnTo>
                  <a:pt x="1295171" y="56133"/>
                </a:lnTo>
                <a:lnTo>
                  <a:pt x="1295171" y="56997"/>
                </a:lnTo>
                <a:lnTo>
                  <a:pt x="1299637" y="78884"/>
                </a:lnTo>
                <a:lnTo>
                  <a:pt x="1311795" y="96723"/>
                </a:lnTo>
                <a:lnTo>
                  <a:pt x="1329782" y="108732"/>
                </a:lnTo>
                <a:lnTo>
                  <a:pt x="1351737" y="113131"/>
                </a:lnTo>
                <a:lnTo>
                  <a:pt x="1373691" y="108732"/>
                </a:lnTo>
                <a:lnTo>
                  <a:pt x="1391678" y="96723"/>
                </a:lnTo>
                <a:lnTo>
                  <a:pt x="1403836" y="78884"/>
                </a:lnTo>
                <a:lnTo>
                  <a:pt x="1408303" y="56997"/>
                </a:lnTo>
                <a:lnTo>
                  <a:pt x="1408303" y="56133"/>
                </a:lnTo>
                <a:lnTo>
                  <a:pt x="1403654" y="34247"/>
                </a:lnTo>
                <a:lnTo>
                  <a:pt x="1391192" y="16408"/>
                </a:lnTo>
                <a:lnTo>
                  <a:pt x="1373145" y="4398"/>
                </a:lnTo>
                <a:lnTo>
                  <a:pt x="1351737" y="0"/>
                </a:lnTo>
                <a:close/>
              </a:path>
              <a:path w="8402320" h="113664">
                <a:moveTo>
                  <a:pt x="1610779" y="0"/>
                </a:moveTo>
                <a:lnTo>
                  <a:pt x="1589189" y="4398"/>
                </a:lnTo>
                <a:lnTo>
                  <a:pt x="1571161" y="16408"/>
                </a:lnTo>
                <a:lnTo>
                  <a:pt x="1558801" y="34247"/>
                </a:lnTo>
                <a:lnTo>
                  <a:pt x="1554213" y="56133"/>
                </a:lnTo>
                <a:lnTo>
                  <a:pt x="1554213" y="56997"/>
                </a:lnTo>
                <a:lnTo>
                  <a:pt x="1558679" y="78884"/>
                </a:lnTo>
                <a:lnTo>
                  <a:pt x="1570837" y="96723"/>
                </a:lnTo>
                <a:lnTo>
                  <a:pt x="1588824" y="108732"/>
                </a:lnTo>
                <a:lnTo>
                  <a:pt x="1610779" y="113131"/>
                </a:lnTo>
                <a:lnTo>
                  <a:pt x="1632733" y="108732"/>
                </a:lnTo>
                <a:lnTo>
                  <a:pt x="1650720" y="96723"/>
                </a:lnTo>
                <a:lnTo>
                  <a:pt x="1662878" y="78884"/>
                </a:lnTo>
                <a:lnTo>
                  <a:pt x="1667344" y="56997"/>
                </a:lnTo>
                <a:lnTo>
                  <a:pt x="1667344" y="56133"/>
                </a:lnTo>
                <a:lnTo>
                  <a:pt x="1662696" y="34247"/>
                </a:lnTo>
                <a:lnTo>
                  <a:pt x="1650234" y="16408"/>
                </a:lnTo>
                <a:lnTo>
                  <a:pt x="1632186" y="4398"/>
                </a:lnTo>
                <a:lnTo>
                  <a:pt x="1610779" y="0"/>
                </a:lnTo>
                <a:close/>
              </a:path>
              <a:path w="8402320" h="113664">
                <a:moveTo>
                  <a:pt x="1869808" y="0"/>
                </a:moveTo>
                <a:lnTo>
                  <a:pt x="1848218" y="4398"/>
                </a:lnTo>
                <a:lnTo>
                  <a:pt x="1830190" y="16408"/>
                </a:lnTo>
                <a:lnTo>
                  <a:pt x="1817830" y="34247"/>
                </a:lnTo>
                <a:lnTo>
                  <a:pt x="1813242" y="56133"/>
                </a:lnTo>
                <a:lnTo>
                  <a:pt x="1813242" y="56997"/>
                </a:lnTo>
                <a:lnTo>
                  <a:pt x="1817708" y="78884"/>
                </a:lnTo>
                <a:lnTo>
                  <a:pt x="1829866" y="96723"/>
                </a:lnTo>
                <a:lnTo>
                  <a:pt x="1847853" y="108732"/>
                </a:lnTo>
                <a:lnTo>
                  <a:pt x="1869808" y="113131"/>
                </a:lnTo>
                <a:lnTo>
                  <a:pt x="1891762" y="108732"/>
                </a:lnTo>
                <a:lnTo>
                  <a:pt x="1909749" y="96723"/>
                </a:lnTo>
                <a:lnTo>
                  <a:pt x="1921907" y="78884"/>
                </a:lnTo>
                <a:lnTo>
                  <a:pt x="1926374" y="56997"/>
                </a:lnTo>
                <a:lnTo>
                  <a:pt x="1926374" y="56133"/>
                </a:lnTo>
                <a:lnTo>
                  <a:pt x="1921725" y="34247"/>
                </a:lnTo>
                <a:lnTo>
                  <a:pt x="1909264" y="16408"/>
                </a:lnTo>
                <a:lnTo>
                  <a:pt x="1891216" y="4398"/>
                </a:lnTo>
                <a:lnTo>
                  <a:pt x="1869808" y="0"/>
                </a:lnTo>
                <a:close/>
              </a:path>
              <a:path w="8402320" h="113664">
                <a:moveTo>
                  <a:pt x="2128850" y="0"/>
                </a:moveTo>
                <a:lnTo>
                  <a:pt x="2107260" y="4398"/>
                </a:lnTo>
                <a:lnTo>
                  <a:pt x="2089232" y="16408"/>
                </a:lnTo>
                <a:lnTo>
                  <a:pt x="2076872" y="34247"/>
                </a:lnTo>
                <a:lnTo>
                  <a:pt x="2072284" y="56133"/>
                </a:lnTo>
                <a:lnTo>
                  <a:pt x="2072284" y="56997"/>
                </a:lnTo>
                <a:lnTo>
                  <a:pt x="2076750" y="78884"/>
                </a:lnTo>
                <a:lnTo>
                  <a:pt x="2088908" y="96723"/>
                </a:lnTo>
                <a:lnTo>
                  <a:pt x="2106895" y="108732"/>
                </a:lnTo>
                <a:lnTo>
                  <a:pt x="2128850" y="113131"/>
                </a:lnTo>
                <a:lnTo>
                  <a:pt x="2150804" y="108732"/>
                </a:lnTo>
                <a:lnTo>
                  <a:pt x="2168791" y="96723"/>
                </a:lnTo>
                <a:lnTo>
                  <a:pt x="2180949" y="78884"/>
                </a:lnTo>
                <a:lnTo>
                  <a:pt x="2185416" y="56997"/>
                </a:lnTo>
                <a:lnTo>
                  <a:pt x="2185416" y="56133"/>
                </a:lnTo>
                <a:lnTo>
                  <a:pt x="2180767" y="34247"/>
                </a:lnTo>
                <a:lnTo>
                  <a:pt x="2168305" y="16408"/>
                </a:lnTo>
                <a:lnTo>
                  <a:pt x="2150258" y="4398"/>
                </a:lnTo>
                <a:lnTo>
                  <a:pt x="2128850" y="0"/>
                </a:lnTo>
                <a:close/>
              </a:path>
              <a:path w="8402320" h="113664">
                <a:moveTo>
                  <a:pt x="2387879" y="0"/>
                </a:moveTo>
                <a:lnTo>
                  <a:pt x="2366289" y="4398"/>
                </a:lnTo>
                <a:lnTo>
                  <a:pt x="2348261" y="16408"/>
                </a:lnTo>
                <a:lnTo>
                  <a:pt x="2335901" y="34247"/>
                </a:lnTo>
                <a:lnTo>
                  <a:pt x="2331313" y="56133"/>
                </a:lnTo>
                <a:lnTo>
                  <a:pt x="2331313" y="56997"/>
                </a:lnTo>
                <a:lnTo>
                  <a:pt x="2335780" y="78884"/>
                </a:lnTo>
                <a:lnTo>
                  <a:pt x="2347937" y="96723"/>
                </a:lnTo>
                <a:lnTo>
                  <a:pt x="2365925" y="108732"/>
                </a:lnTo>
                <a:lnTo>
                  <a:pt x="2387879" y="113131"/>
                </a:lnTo>
                <a:lnTo>
                  <a:pt x="2409833" y="108732"/>
                </a:lnTo>
                <a:lnTo>
                  <a:pt x="2427820" y="96723"/>
                </a:lnTo>
                <a:lnTo>
                  <a:pt x="2439978" y="78884"/>
                </a:lnTo>
                <a:lnTo>
                  <a:pt x="2444445" y="56997"/>
                </a:lnTo>
                <a:lnTo>
                  <a:pt x="2444445" y="56133"/>
                </a:lnTo>
                <a:lnTo>
                  <a:pt x="2439796" y="34247"/>
                </a:lnTo>
                <a:lnTo>
                  <a:pt x="2427335" y="16408"/>
                </a:lnTo>
                <a:lnTo>
                  <a:pt x="2409287" y="4398"/>
                </a:lnTo>
                <a:lnTo>
                  <a:pt x="2387879" y="0"/>
                </a:lnTo>
                <a:close/>
              </a:path>
              <a:path w="8402320" h="113664">
                <a:moveTo>
                  <a:pt x="2646921" y="0"/>
                </a:moveTo>
                <a:lnTo>
                  <a:pt x="2625331" y="4398"/>
                </a:lnTo>
                <a:lnTo>
                  <a:pt x="2607303" y="16408"/>
                </a:lnTo>
                <a:lnTo>
                  <a:pt x="2594943" y="34247"/>
                </a:lnTo>
                <a:lnTo>
                  <a:pt x="2590355" y="56133"/>
                </a:lnTo>
                <a:lnTo>
                  <a:pt x="2590355" y="56997"/>
                </a:lnTo>
                <a:lnTo>
                  <a:pt x="2594821" y="78884"/>
                </a:lnTo>
                <a:lnTo>
                  <a:pt x="2606979" y="96723"/>
                </a:lnTo>
                <a:lnTo>
                  <a:pt x="2624966" y="108732"/>
                </a:lnTo>
                <a:lnTo>
                  <a:pt x="2646921" y="113131"/>
                </a:lnTo>
                <a:lnTo>
                  <a:pt x="2668875" y="108732"/>
                </a:lnTo>
                <a:lnTo>
                  <a:pt x="2686862" y="96723"/>
                </a:lnTo>
                <a:lnTo>
                  <a:pt x="2699020" y="78884"/>
                </a:lnTo>
                <a:lnTo>
                  <a:pt x="2703487" y="56997"/>
                </a:lnTo>
                <a:lnTo>
                  <a:pt x="2703487" y="56133"/>
                </a:lnTo>
                <a:lnTo>
                  <a:pt x="2698838" y="34247"/>
                </a:lnTo>
                <a:lnTo>
                  <a:pt x="2686377" y="16408"/>
                </a:lnTo>
                <a:lnTo>
                  <a:pt x="2668329" y="4398"/>
                </a:lnTo>
                <a:lnTo>
                  <a:pt x="2646921" y="0"/>
                </a:lnTo>
                <a:close/>
              </a:path>
              <a:path w="8402320" h="113664">
                <a:moveTo>
                  <a:pt x="2905950" y="0"/>
                </a:moveTo>
                <a:lnTo>
                  <a:pt x="2884360" y="4398"/>
                </a:lnTo>
                <a:lnTo>
                  <a:pt x="2866332" y="16408"/>
                </a:lnTo>
                <a:lnTo>
                  <a:pt x="2853972" y="34247"/>
                </a:lnTo>
                <a:lnTo>
                  <a:pt x="2849384" y="56133"/>
                </a:lnTo>
                <a:lnTo>
                  <a:pt x="2849384" y="56997"/>
                </a:lnTo>
                <a:lnTo>
                  <a:pt x="2853851" y="78884"/>
                </a:lnTo>
                <a:lnTo>
                  <a:pt x="2866009" y="96723"/>
                </a:lnTo>
                <a:lnTo>
                  <a:pt x="2883996" y="108732"/>
                </a:lnTo>
                <a:lnTo>
                  <a:pt x="2905950" y="113131"/>
                </a:lnTo>
                <a:lnTo>
                  <a:pt x="2927904" y="108732"/>
                </a:lnTo>
                <a:lnTo>
                  <a:pt x="2945892" y="96723"/>
                </a:lnTo>
                <a:lnTo>
                  <a:pt x="2958049" y="78884"/>
                </a:lnTo>
                <a:lnTo>
                  <a:pt x="2962516" y="56997"/>
                </a:lnTo>
                <a:lnTo>
                  <a:pt x="2962516" y="56133"/>
                </a:lnTo>
                <a:lnTo>
                  <a:pt x="2957867" y="34247"/>
                </a:lnTo>
                <a:lnTo>
                  <a:pt x="2945406" y="16408"/>
                </a:lnTo>
                <a:lnTo>
                  <a:pt x="2927358" y="4398"/>
                </a:lnTo>
                <a:lnTo>
                  <a:pt x="2905950" y="0"/>
                </a:lnTo>
                <a:close/>
              </a:path>
              <a:path w="8402320" h="113664">
                <a:moveTo>
                  <a:pt x="3164992" y="0"/>
                </a:moveTo>
                <a:lnTo>
                  <a:pt x="3143402" y="4398"/>
                </a:lnTo>
                <a:lnTo>
                  <a:pt x="3125374" y="16408"/>
                </a:lnTo>
                <a:lnTo>
                  <a:pt x="3113014" y="34247"/>
                </a:lnTo>
                <a:lnTo>
                  <a:pt x="3108426" y="56133"/>
                </a:lnTo>
                <a:lnTo>
                  <a:pt x="3108426" y="56997"/>
                </a:lnTo>
                <a:lnTo>
                  <a:pt x="3112893" y="78884"/>
                </a:lnTo>
                <a:lnTo>
                  <a:pt x="3125050" y="96723"/>
                </a:lnTo>
                <a:lnTo>
                  <a:pt x="3143038" y="108732"/>
                </a:lnTo>
                <a:lnTo>
                  <a:pt x="3164992" y="113131"/>
                </a:lnTo>
                <a:lnTo>
                  <a:pt x="3186946" y="108732"/>
                </a:lnTo>
                <a:lnTo>
                  <a:pt x="3204933" y="96723"/>
                </a:lnTo>
                <a:lnTo>
                  <a:pt x="3217091" y="78884"/>
                </a:lnTo>
                <a:lnTo>
                  <a:pt x="3221558" y="56997"/>
                </a:lnTo>
                <a:lnTo>
                  <a:pt x="3221558" y="56133"/>
                </a:lnTo>
                <a:lnTo>
                  <a:pt x="3216909" y="34247"/>
                </a:lnTo>
                <a:lnTo>
                  <a:pt x="3204448" y="16408"/>
                </a:lnTo>
                <a:lnTo>
                  <a:pt x="3186400" y="4398"/>
                </a:lnTo>
                <a:lnTo>
                  <a:pt x="3164992" y="0"/>
                </a:lnTo>
                <a:close/>
              </a:path>
              <a:path w="8402320" h="113664">
                <a:moveTo>
                  <a:pt x="3424021" y="0"/>
                </a:moveTo>
                <a:lnTo>
                  <a:pt x="3402431" y="4398"/>
                </a:lnTo>
                <a:lnTo>
                  <a:pt x="3384403" y="16408"/>
                </a:lnTo>
                <a:lnTo>
                  <a:pt x="3372043" y="34247"/>
                </a:lnTo>
                <a:lnTo>
                  <a:pt x="3367455" y="56133"/>
                </a:lnTo>
                <a:lnTo>
                  <a:pt x="3367455" y="56997"/>
                </a:lnTo>
                <a:lnTo>
                  <a:pt x="3371922" y="78884"/>
                </a:lnTo>
                <a:lnTo>
                  <a:pt x="3384080" y="96723"/>
                </a:lnTo>
                <a:lnTo>
                  <a:pt x="3402067" y="108732"/>
                </a:lnTo>
                <a:lnTo>
                  <a:pt x="3424021" y="113131"/>
                </a:lnTo>
                <a:lnTo>
                  <a:pt x="3445975" y="108732"/>
                </a:lnTo>
                <a:lnTo>
                  <a:pt x="3463963" y="96723"/>
                </a:lnTo>
                <a:lnTo>
                  <a:pt x="3476120" y="78884"/>
                </a:lnTo>
                <a:lnTo>
                  <a:pt x="3480587" y="56997"/>
                </a:lnTo>
                <a:lnTo>
                  <a:pt x="3480587" y="56133"/>
                </a:lnTo>
                <a:lnTo>
                  <a:pt x="3475938" y="34247"/>
                </a:lnTo>
                <a:lnTo>
                  <a:pt x="3463477" y="16408"/>
                </a:lnTo>
                <a:lnTo>
                  <a:pt x="3445429" y="4398"/>
                </a:lnTo>
                <a:lnTo>
                  <a:pt x="3424021" y="0"/>
                </a:lnTo>
                <a:close/>
              </a:path>
              <a:path w="8402320" h="113664">
                <a:moveTo>
                  <a:pt x="3683063" y="0"/>
                </a:moveTo>
                <a:lnTo>
                  <a:pt x="3661473" y="4398"/>
                </a:lnTo>
                <a:lnTo>
                  <a:pt x="3643445" y="16408"/>
                </a:lnTo>
                <a:lnTo>
                  <a:pt x="3631085" y="34247"/>
                </a:lnTo>
                <a:lnTo>
                  <a:pt x="3626497" y="56133"/>
                </a:lnTo>
                <a:lnTo>
                  <a:pt x="3626497" y="56997"/>
                </a:lnTo>
                <a:lnTo>
                  <a:pt x="3630964" y="78884"/>
                </a:lnTo>
                <a:lnTo>
                  <a:pt x="3643122" y="96723"/>
                </a:lnTo>
                <a:lnTo>
                  <a:pt x="3661109" y="108732"/>
                </a:lnTo>
                <a:lnTo>
                  <a:pt x="3683063" y="113131"/>
                </a:lnTo>
                <a:lnTo>
                  <a:pt x="3705017" y="108732"/>
                </a:lnTo>
                <a:lnTo>
                  <a:pt x="3723005" y="96723"/>
                </a:lnTo>
                <a:lnTo>
                  <a:pt x="3735162" y="78884"/>
                </a:lnTo>
                <a:lnTo>
                  <a:pt x="3739629" y="56997"/>
                </a:lnTo>
                <a:lnTo>
                  <a:pt x="3739629" y="56133"/>
                </a:lnTo>
                <a:lnTo>
                  <a:pt x="3734980" y="34247"/>
                </a:lnTo>
                <a:lnTo>
                  <a:pt x="3722519" y="16408"/>
                </a:lnTo>
                <a:lnTo>
                  <a:pt x="3704471" y="4398"/>
                </a:lnTo>
                <a:lnTo>
                  <a:pt x="3683063" y="0"/>
                </a:lnTo>
                <a:close/>
              </a:path>
              <a:path w="8402320" h="113664">
                <a:moveTo>
                  <a:pt x="3942092" y="0"/>
                </a:moveTo>
                <a:lnTo>
                  <a:pt x="3920502" y="4398"/>
                </a:lnTo>
                <a:lnTo>
                  <a:pt x="3902475" y="16408"/>
                </a:lnTo>
                <a:lnTo>
                  <a:pt x="3890114" y="34247"/>
                </a:lnTo>
                <a:lnTo>
                  <a:pt x="3885526" y="56133"/>
                </a:lnTo>
                <a:lnTo>
                  <a:pt x="3885526" y="56997"/>
                </a:lnTo>
                <a:lnTo>
                  <a:pt x="3889993" y="78884"/>
                </a:lnTo>
                <a:lnTo>
                  <a:pt x="3902151" y="96723"/>
                </a:lnTo>
                <a:lnTo>
                  <a:pt x="3920138" y="108732"/>
                </a:lnTo>
                <a:lnTo>
                  <a:pt x="3942092" y="113131"/>
                </a:lnTo>
                <a:lnTo>
                  <a:pt x="3964047" y="108732"/>
                </a:lnTo>
                <a:lnTo>
                  <a:pt x="3982034" y="96723"/>
                </a:lnTo>
                <a:lnTo>
                  <a:pt x="3994192" y="78884"/>
                </a:lnTo>
                <a:lnTo>
                  <a:pt x="3998658" y="56997"/>
                </a:lnTo>
                <a:lnTo>
                  <a:pt x="3998658" y="56133"/>
                </a:lnTo>
                <a:lnTo>
                  <a:pt x="3994009" y="34247"/>
                </a:lnTo>
                <a:lnTo>
                  <a:pt x="3981548" y="16408"/>
                </a:lnTo>
                <a:lnTo>
                  <a:pt x="3963500" y="4398"/>
                </a:lnTo>
                <a:lnTo>
                  <a:pt x="3942092" y="0"/>
                </a:lnTo>
                <a:close/>
              </a:path>
              <a:path w="8402320" h="113664">
                <a:moveTo>
                  <a:pt x="4201134" y="0"/>
                </a:moveTo>
                <a:lnTo>
                  <a:pt x="4179544" y="4398"/>
                </a:lnTo>
                <a:lnTo>
                  <a:pt x="4161516" y="16408"/>
                </a:lnTo>
                <a:lnTo>
                  <a:pt x="4149156" y="34247"/>
                </a:lnTo>
                <a:lnTo>
                  <a:pt x="4144568" y="56133"/>
                </a:lnTo>
                <a:lnTo>
                  <a:pt x="4144568" y="56997"/>
                </a:lnTo>
                <a:lnTo>
                  <a:pt x="4149035" y="78884"/>
                </a:lnTo>
                <a:lnTo>
                  <a:pt x="4161193" y="96723"/>
                </a:lnTo>
                <a:lnTo>
                  <a:pt x="4179180" y="108732"/>
                </a:lnTo>
                <a:lnTo>
                  <a:pt x="4201134" y="113131"/>
                </a:lnTo>
                <a:lnTo>
                  <a:pt x="4223088" y="108732"/>
                </a:lnTo>
                <a:lnTo>
                  <a:pt x="4241076" y="96723"/>
                </a:lnTo>
                <a:lnTo>
                  <a:pt x="4253233" y="78884"/>
                </a:lnTo>
                <a:lnTo>
                  <a:pt x="4257700" y="56997"/>
                </a:lnTo>
                <a:lnTo>
                  <a:pt x="4257700" y="56133"/>
                </a:lnTo>
                <a:lnTo>
                  <a:pt x="4253051" y="34247"/>
                </a:lnTo>
                <a:lnTo>
                  <a:pt x="4240590" y="16408"/>
                </a:lnTo>
                <a:lnTo>
                  <a:pt x="4222542" y="4398"/>
                </a:lnTo>
                <a:lnTo>
                  <a:pt x="4201134" y="0"/>
                </a:lnTo>
                <a:close/>
              </a:path>
              <a:path w="8402320" h="113664">
                <a:moveTo>
                  <a:pt x="4460163" y="0"/>
                </a:moveTo>
                <a:lnTo>
                  <a:pt x="4438573" y="4398"/>
                </a:lnTo>
                <a:lnTo>
                  <a:pt x="4420546" y="16408"/>
                </a:lnTo>
                <a:lnTo>
                  <a:pt x="4408185" y="34247"/>
                </a:lnTo>
                <a:lnTo>
                  <a:pt x="4403598" y="56133"/>
                </a:lnTo>
                <a:lnTo>
                  <a:pt x="4403598" y="56997"/>
                </a:lnTo>
                <a:lnTo>
                  <a:pt x="4408064" y="78884"/>
                </a:lnTo>
                <a:lnTo>
                  <a:pt x="4420222" y="96723"/>
                </a:lnTo>
                <a:lnTo>
                  <a:pt x="4438209" y="108732"/>
                </a:lnTo>
                <a:lnTo>
                  <a:pt x="4460163" y="113131"/>
                </a:lnTo>
                <a:lnTo>
                  <a:pt x="4482118" y="108732"/>
                </a:lnTo>
                <a:lnTo>
                  <a:pt x="4500105" y="96723"/>
                </a:lnTo>
                <a:lnTo>
                  <a:pt x="4512263" y="78884"/>
                </a:lnTo>
                <a:lnTo>
                  <a:pt x="4516729" y="56997"/>
                </a:lnTo>
                <a:lnTo>
                  <a:pt x="4516729" y="56133"/>
                </a:lnTo>
                <a:lnTo>
                  <a:pt x="4512081" y="34247"/>
                </a:lnTo>
                <a:lnTo>
                  <a:pt x="4499619" y="16408"/>
                </a:lnTo>
                <a:lnTo>
                  <a:pt x="4481571" y="4398"/>
                </a:lnTo>
                <a:lnTo>
                  <a:pt x="4460163" y="0"/>
                </a:lnTo>
                <a:close/>
              </a:path>
              <a:path w="8402320" h="113664">
                <a:moveTo>
                  <a:pt x="4719205" y="0"/>
                </a:moveTo>
                <a:lnTo>
                  <a:pt x="4697615" y="4398"/>
                </a:lnTo>
                <a:lnTo>
                  <a:pt x="4679588" y="16408"/>
                </a:lnTo>
                <a:lnTo>
                  <a:pt x="4667227" y="34247"/>
                </a:lnTo>
                <a:lnTo>
                  <a:pt x="4662639" y="56133"/>
                </a:lnTo>
                <a:lnTo>
                  <a:pt x="4662639" y="56997"/>
                </a:lnTo>
                <a:lnTo>
                  <a:pt x="4667106" y="78884"/>
                </a:lnTo>
                <a:lnTo>
                  <a:pt x="4679264" y="96723"/>
                </a:lnTo>
                <a:lnTo>
                  <a:pt x="4697251" y="108732"/>
                </a:lnTo>
                <a:lnTo>
                  <a:pt x="4719205" y="113131"/>
                </a:lnTo>
                <a:lnTo>
                  <a:pt x="4741160" y="108732"/>
                </a:lnTo>
                <a:lnTo>
                  <a:pt x="4759147" y="96723"/>
                </a:lnTo>
                <a:lnTo>
                  <a:pt x="4771305" y="78884"/>
                </a:lnTo>
                <a:lnTo>
                  <a:pt x="4775771" y="56997"/>
                </a:lnTo>
                <a:lnTo>
                  <a:pt x="4775771" y="56133"/>
                </a:lnTo>
                <a:lnTo>
                  <a:pt x="4771122" y="34247"/>
                </a:lnTo>
                <a:lnTo>
                  <a:pt x="4758661" y="16408"/>
                </a:lnTo>
                <a:lnTo>
                  <a:pt x="4740613" y="4398"/>
                </a:lnTo>
                <a:lnTo>
                  <a:pt x="4719205" y="0"/>
                </a:lnTo>
                <a:close/>
              </a:path>
              <a:path w="8402320" h="113664">
                <a:moveTo>
                  <a:pt x="4978234" y="0"/>
                </a:moveTo>
                <a:lnTo>
                  <a:pt x="4956644" y="4398"/>
                </a:lnTo>
                <a:lnTo>
                  <a:pt x="4938617" y="16408"/>
                </a:lnTo>
                <a:lnTo>
                  <a:pt x="4926256" y="34247"/>
                </a:lnTo>
                <a:lnTo>
                  <a:pt x="4921669" y="56133"/>
                </a:lnTo>
                <a:lnTo>
                  <a:pt x="4921669" y="56997"/>
                </a:lnTo>
                <a:lnTo>
                  <a:pt x="4926135" y="78884"/>
                </a:lnTo>
                <a:lnTo>
                  <a:pt x="4938293" y="96723"/>
                </a:lnTo>
                <a:lnTo>
                  <a:pt x="4956280" y="108732"/>
                </a:lnTo>
                <a:lnTo>
                  <a:pt x="4978234" y="113131"/>
                </a:lnTo>
                <a:lnTo>
                  <a:pt x="5000189" y="108732"/>
                </a:lnTo>
                <a:lnTo>
                  <a:pt x="5018176" y="96723"/>
                </a:lnTo>
                <a:lnTo>
                  <a:pt x="5030334" y="78884"/>
                </a:lnTo>
                <a:lnTo>
                  <a:pt x="5034800" y="56997"/>
                </a:lnTo>
                <a:lnTo>
                  <a:pt x="5034800" y="56133"/>
                </a:lnTo>
                <a:lnTo>
                  <a:pt x="5030152" y="34247"/>
                </a:lnTo>
                <a:lnTo>
                  <a:pt x="5017690" y="16408"/>
                </a:lnTo>
                <a:lnTo>
                  <a:pt x="4999642" y="4398"/>
                </a:lnTo>
                <a:lnTo>
                  <a:pt x="4978234" y="0"/>
                </a:lnTo>
                <a:close/>
              </a:path>
              <a:path w="8402320" h="113664">
                <a:moveTo>
                  <a:pt x="5237276" y="0"/>
                </a:moveTo>
                <a:lnTo>
                  <a:pt x="5215686" y="4398"/>
                </a:lnTo>
                <a:lnTo>
                  <a:pt x="5197659" y="16408"/>
                </a:lnTo>
                <a:lnTo>
                  <a:pt x="5185298" y="34247"/>
                </a:lnTo>
                <a:lnTo>
                  <a:pt x="5180711" y="56133"/>
                </a:lnTo>
                <a:lnTo>
                  <a:pt x="5180711" y="56997"/>
                </a:lnTo>
                <a:lnTo>
                  <a:pt x="5185177" y="78884"/>
                </a:lnTo>
                <a:lnTo>
                  <a:pt x="5197335" y="96723"/>
                </a:lnTo>
                <a:lnTo>
                  <a:pt x="5215322" y="108732"/>
                </a:lnTo>
                <a:lnTo>
                  <a:pt x="5237276" y="113131"/>
                </a:lnTo>
                <a:lnTo>
                  <a:pt x="5259231" y="108732"/>
                </a:lnTo>
                <a:lnTo>
                  <a:pt x="5277218" y="96723"/>
                </a:lnTo>
                <a:lnTo>
                  <a:pt x="5289376" y="78884"/>
                </a:lnTo>
                <a:lnTo>
                  <a:pt x="5293842" y="56997"/>
                </a:lnTo>
                <a:lnTo>
                  <a:pt x="5293842" y="56133"/>
                </a:lnTo>
                <a:lnTo>
                  <a:pt x="5289194" y="34247"/>
                </a:lnTo>
                <a:lnTo>
                  <a:pt x="5276732" y="16408"/>
                </a:lnTo>
                <a:lnTo>
                  <a:pt x="5258684" y="4398"/>
                </a:lnTo>
                <a:lnTo>
                  <a:pt x="5237276" y="0"/>
                </a:lnTo>
                <a:close/>
              </a:path>
              <a:path w="8402320" h="113664">
                <a:moveTo>
                  <a:pt x="5496306" y="0"/>
                </a:moveTo>
                <a:lnTo>
                  <a:pt x="5474716" y="4398"/>
                </a:lnTo>
                <a:lnTo>
                  <a:pt x="5456688" y="16408"/>
                </a:lnTo>
                <a:lnTo>
                  <a:pt x="5444328" y="34247"/>
                </a:lnTo>
                <a:lnTo>
                  <a:pt x="5439740" y="56133"/>
                </a:lnTo>
                <a:lnTo>
                  <a:pt x="5439740" y="56997"/>
                </a:lnTo>
                <a:lnTo>
                  <a:pt x="5444206" y="78884"/>
                </a:lnTo>
                <a:lnTo>
                  <a:pt x="5456364" y="96723"/>
                </a:lnTo>
                <a:lnTo>
                  <a:pt x="5474351" y="108732"/>
                </a:lnTo>
                <a:lnTo>
                  <a:pt x="5496306" y="113131"/>
                </a:lnTo>
                <a:lnTo>
                  <a:pt x="5518260" y="108732"/>
                </a:lnTo>
                <a:lnTo>
                  <a:pt x="5536247" y="96723"/>
                </a:lnTo>
                <a:lnTo>
                  <a:pt x="5548405" y="78884"/>
                </a:lnTo>
                <a:lnTo>
                  <a:pt x="5552871" y="56997"/>
                </a:lnTo>
                <a:lnTo>
                  <a:pt x="5552871" y="56133"/>
                </a:lnTo>
                <a:lnTo>
                  <a:pt x="5548223" y="34247"/>
                </a:lnTo>
                <a:lnTo>
                  <a:pt x="5535761" y="16408"/>
                </a:lnTo>
                <a:lnTo>
                  <a:pt x="5517713" y="4398"/>
                </a:lnTo>
                <a:lnTo>
                  <a:pt x="5496306" y="0"/>
                </a:lnTo>
                <a:close/>
              </a:path>
              <a:path w="8402320" h="113664">
                <a:moveTo>
                  <a:pt x="5755347" y="0"/>
                </a:moveTo>
                <a:lnTo>
                  <a:pt x="5733757" y="4398"/>
                </a:lnTo>
                <a:lnTo>
                  <a:pt x="5715730" y="16408"/>
                </a:lnTo>
                <a:lnTo>
                  <a:pt x="5703369" y="34247"/>
                </a:lnTo>
                <a:lnTo>
                  <a:pt x="5698782" y="56133"/>
                </a:lnTo>
                <a:lnTo>
                  <a:pt x="5698782" y="56997"/>
                </a:lnTo>
                <a:lnTo>
                  <a:pt x="5703248" y="78884"/>
                </a:lnTo>
                <a:lnTo>
                  <a:pt x="5715406" y="96723"/>
                </a:lnTo>
                <a:lnTo>
                  <a:pt x="5733393" y="108732"/>
                </a:lnTo>
                <a:lnTo>
                  <a:pt x="5755347" y="113131"/>
                </a:lnTo>
                <a:lnTo>
                  <a:pt x="5777302" y="108732"/>
                </a:lnTo>
                <a:lnTo>
                  <a:pt x="5795289" y="96723"/>
                </a:lnTo>
                <a:lnTo>
                  <a:pt x="5807447" y="78884"/>
                </a:lnTo>
                <a:lnTo>
                  <a:pt x="5811913" y="56997"/>
                </a:lnTo>
                <a:lnTo>
                  <a:pt x="5811913" y="56133"/>
                </a:lnTo>
                <a:lnTo>
                  <a:pt x="5807265" y="34247"/>
                </a:lnTo>
                <a:lnTo>
                  <a:pt x="5794803" y="16408"/>
                </a:lnTo>
                <a:lnTo>
                  <a:pt x="5776755" y="4398"/>
                </a:lnTo>
                <a:lnTo>
                  <a:pt x="5755347" y="0"/>
                </a:lnTo>
                <a:close/>
              </a:path>
              <a:path w="8402320" h="113664">
                <a:moveTo>
                  <a:pt x="6014377" y="0"/>
                </a:moveTo>
                <a:lnTo>
                  <a:pt x="5992787" y="4398"/>
                </a:lnTo>
                <a:lnTo>
                  <a:pt x="5974759" y="16408"/>
                </a:lnTo>
                <a:lnTo>
                  <a:pt x="5962399" y="34247"/>
                </a:lnTo>
                <a:lnTo>
                  <a:pt x="5957811" y="56133"/>
                </a:lnTo>
                <a:lnTo>
                  <a:pt x="5957811" y="56997"/>
                </a:lnTo>
                <a:lnTo>
                  <a:pt x="5962277" y="78884"/>
                </a:lnTo>
                <a:lnTo>
                  <a:pt x="5974435" y="96723"/>
                </a:lnTo>
                <a:lnTo>
                  <a:pt x="5992422" y="108732"/>
                </a:lnTo>
                <a:lnTo>
                  <a:pt x="6014377" y="113131"/>
                </a:lnTo>
                <a:lnTo>
                  <a:pt x="6036331" y="108732"/>
                </a:lnTo>
                <a:lnTo>
                  <a:pt x="6054318" y="96723"/>
                </a:lnTo>
                <a:lnTo>
                  <a:pt x="6066476" y="78884"/>
                </a:lnTo>
                <a:lnTo>
                  <a:pt x="6070942" y="56997"/>
                </a:lnTo>
                <a:lnTo>
                  <a:pt x="6070942" y="56133"/>
                </a:lnTo>
                <a:lnTo>
                  <a:pt x="6066294" y="34247"/>
                </a:lnTo>
                <a:lnTo>
                  <a:pt x="6053832" y="16408"/>
                </a:lnTo>
                <a:lnTo>
                  <a:pt x="6035784" y="4398"/>
                </a:lnTo>
                <a:lnTo>
                  <a:pt x="6014377" y="0"/>
                </a:lnTo>
                <a:close/>
              </a:path>
              <a:path w="8402320" h="113664">
                <a:moveTo>
                  <a:pt x="6273419" y="0"/>
                </a:moveTo>
                <a:lnTo>
                  <a:pt x="6251829" y="4398"/>
                </a:lnTo>
                <a:lnTo>
                  <a:pt x="6233801" y="16408"/>
                </a:lnTo>
                <a:lnTo>
                  <a:pt x="6221441" y="34247"/>
                </a:lnTo>
                <a:lnTo>
                  <a:pt x="6216853" y="56133"/>
                </a:lnTo>
                <a:lnTo>
                  <a:pt x="6216853" y="56997"/>
                </a:lnTo>
                <a:lnTo>
                  <a:pt x="6221319" y="78884"/>
                </a:lnTo>
                <a:lnTo>
                  <a:pt x="6233477" y="96723"/>
                </a:lnTo>
                <a:lnTo>
                  <a:pt x="6251464" y="108732"/>
                </a:lnTo>
                <a:lnTo>
                  <a:pt x="6273419" y="113131"/>
                </a:lnTo>
                <a:lnTo>
                  <a:pt x="6295373" y="108732"/>
                </a:lnTo>
                <a:lnTo>
                  <a:pt x="6313360" y="96723"/>
                </a:lnTo>
                <a:lnTo>
                  <a:pt x="6325518" y="78884"/>
                </a:lnTo>
                <a:lnTo>
                  <a:pt x="6329984" y="56997"/>
                </a:lnTo>
                <a:lnTo>
                  <a:pt x="6329984" y="56133"/>
                </a:lnTo>
                <a:lnTo>
                  <a:pt x="6325336" y="34247"/>
                </a:lnTo>
                <a:lnTo>
                  <a:pt x="6312874" y="16408"/>
                </a:lnTo>
                <a:lnTo>
                  <a:pt x="6294826" y="4398"/>
                </a:lnTo>
                <a:lnTo>
                  <a:pt x="6273419" y="0"/>
                </a:lnTo>
                <a:close/>
              </a:path>
              <a:path w="8402320" h="113664">
                <a:moveTo>
                  <a:pt x="6532448" y="0"/>
                </a:moveTo>
                <a:lnTo>
                  <a:pt x="6510858" y="4398"/>
                </a:lnTo>
                <a:lnTo>
                  <a:pt x="6492830" y="16408"/>
                </a:lnTo>
                <a:lnTo>
                  <a:pt x="6480470" y="34247"/>
                </a:lnTo>
                <a:lnTo>
                  <a:pt x="6475882" y="56133"/>
                </a:lnTo>
                <a:lnTo>
                  <a:pt x="6475882" y="56997"/>
                </a:lnTo>
                <a:lnTo>
                  <a:pt x="6480348" y="78884"/>
                </a:lnTo>
                <a:lnTo>
                  <a:pt x="6492506" y="96723"/>
                </a:lnTo>
                <a:lnTo>
                  <a:pt x="6510493" y="108732"/>
                </a:lnTo>
                <a:lnTo>
                  <a:pt x="6532448" y="113131"/>
                </a:lnTo>
                <a:lnTo>
                  <a:pt x="6554402" y="108732"/>
                </a:lnTo>
                <a:lnTo>
                  <a:pt x="6572389" y="96723"/>
                </a:lnTo>
                <a:lnTo>
                  <a:pt x="6584547" y="78884"/>
                </a:lnTo>
                <a:lnTo>
                  <a:pt x="6589013" y="56997"/>
                </a:lnTo>
                <a:lnTo>
                  <a:pt x="6589013" y="56133"/>
                </a:lnTo>
                <a:lnTo>
                  <a:pt x="6584365" y="34247"/>
                </a:lnTo>
                <a:lnTo>
                  <a:pt x="6571903" y="16408"/>
                </a:lnTo>
                <a:lnTo>
                  <a:pt x="6553856" y="4398"/>
                </a:lnTo>
                <a:lnTo>
                  <a:pt x="6532448" y="0"/>
                </a:lnTo>
                <a:close/>
              </a:path>
              <a:path w="8402320" h="113664">
                <a:moveTo>
                  <a:pt x="6791490" y="0"/>
                </a:moveTo>
                <a:lnTo>
                  <a:pt x="6769900" y="4398"/>
                </a:lnTo>
                <a:lnTo>
                  <a:pt x="6751872" y="16408"/>
                </a:lnTo>
                <a:lnTo>
                  <a:pt x="6739512" y="34247"/>
                </a:lnTo>
                <a:lnTo>
                  <a:pt x="6734924" y="56133"/>
                </a:lnTo>
                <a:lnTo>
                  <a:pt x="6734924" y="56997"/>
                </a:lnTo>
                <a:lnTo>
                  <a:pt x="6739390" y="78884"/>
                </a:lnTo>
                <a:lnTo>
                  <a:pt x="6751548" y="96723"/>
                </a:lnTo>
                <a:lnTo>
                  <a:pt x="6769535" y="108732"/>
                </a:lnTo>
                <a:lnTo>
                  <a:pt x="6791490" y="113131"/>
                </a:lnTo>
                <a:lnTo>
                  <a:pt x="6813444" y="108732"/>
                </a:lnTo>
                <a:lnTo>
                  <a:pt x="6831431" y="96723"/>
                </a:lnTo>
                <a:lnTo>
                  <a:pt x="6843589" y="78884"/>
                </a:lnTo>
                <a:lnTo>
                  <a:pt x="6848055" y="56997"/>
                </a:lnTo>
                <a:lnTo>
                  <a:pt x="6848055" y="56133"/>
                </a:lnTo>
                <a:lnTo>
                  <a:pt x="6843407" y="34247"/>
                </a:lnTo>
                <a:lnTo>
                  <a:pt x="6830945" y="16408"/>
                </a:lnTo>
                <a:lnTo>
                  <a:pt x="6812897" y="4398"/>
                </a:lnTo>
                <a:lnTo>
                  <a:pt x="6791490" y="0"/>
                </a:lnTo>
                <a:close/>
              </a:path>
              <a:path w="8402320" h="113664">
                <a:moveTo>
                  <a:pt x="7050519" y="0"/>
                </a:moveTo>
                <a:lnTo>
                  <a:pt x="7028929" y="4398"/>
                </a:lnTo>
                <a:lnTo>
                  <a:pt x="7010901" y="16408"/>
                </a:lnTo>
                <a:lnTo>
                  <a:pt x="6998541" y="34247"/>
                </a:lnTo>
                <a:lnTo>
                  <a:pt x="6993953" y="56133"/>
                </a:lnTo>
                <a:lnTo>
                  <a:pt x="6993953" y="56997"/>
                </a:lnTo>
                <a:lnTo>
                  <a:pt x="6998419" y="78884"/>
                </a:lnTo>
                <a:lnTo>
                  <a:pt x="7010577" y="96723"/>
                </a:lnTo>
                <a:lnTo>
                  <a:pt x="7028564" y="108732"/>
                </a:lnTo>
                <a:lnTo>
                  <a:pt x="7050519" y="113131"/>
                </a:lnTo>
                <a:lnTo>
                  <a:pt x="7072473" y="108732"/>
                </a:lnTo>
                <a:lnTo>
                  <a:pt x="7090460" y="96723"/>
                </a:lnTo>
                <a:lnTo>
                  <a:pt x="7102618" y="78884"/>
                </a:lnTo>
                <a:lnTo>
                  <a:pt x="7107085" y="56997"/>
                </a:lnTo>
                <a:lnTo>
                  <a:pt x="7107085" y="56133"/>
                </a:lnTo>
                <a:lnTo>
                  <a:pt x="7102436" y="34247"/>
                </a:lnTo>
                <a:lnTo>
                  <a:pt x="7089975" y="16408"/>
                </a:lnTo>
                <a:lnTo>
                  <a:pt x="7071927" y="4398"/>
                </a:lnTo>
                <a:lnTo>
                  <a:pt x="7050519" y="0"/>
                </a:lnTo>
                <a:close/>
              </a:path>
              <a:path w="8402320" h="113664">
                <a:moveTo>
                  <a:pt x="7309561" y="0"/>
                </a:moveTo>
                <a:lnTo>
                  <a:pt x="7287971" y="4398"/>
                </a:lnTo>
                <a:lnTo>
                  <a:pt x="7269943" y="16408"/>
                </a:lnTo>
                <a:lnTo>
                  <a:pt x="7257583" y="34247"/>
                </a:lnTo>
                <a:lnTo>
                  <a:pt x="7252995" y="56133"/>
                </a:lnTo>
                <a:lnTo>
                  <a:pt x="7252995" y="56997"/>
                </a:lnTo>
                <a:lnTo>
                  <a:pt x="7257461" y="78884"/>
                </a:lnTo>
                <a:lnTo>
                  <a:pt x="7269619" y="96723"/>
                </a:lnTo>
                <a:lnTo>
                  <a:pt x="7287606" y="108732"/>
                </a:lnTo>
                <a:lnTo>
                  <a:pt x="7309561" y="113131"/>
                </a:lnTo>
                <a:lnTo>
                  <a:pt x="7331515" y="108732"/>
                </a:lnTo>
                <a:lnTo>
                  <a:pt x="7349502" y="96723"/>
                </a:lnTo>
                <a:lnTo>
                  <a:pt x="7361660" y="78884"/>
                </a:lnTo>
                <a:lnTo>
                  <a:pt x="7366127" y="56997"/>
                </a:lnTo>
                <a:lnTo>
                  <a:pt x="7366127" y="56133"/>
                </a:lnTo>
                <a:lnTo>
                  <a:pt x="7361478" y="34247"/>
                </a:lnTo>
                <a:lnTo>
                  <a:pt x="7349016" y="16408"/>
                </a:lnTo>
                <a:lnTo>
                  <a:pt x="7330969" y="4398"/>
                </a:lnTo>
                <a:lnTo>
                  <a:pt x="7309561" y="0"/>
                </a:lnTo>
                <a:close/>
              </a:path>
              <a:path w="8402320" h="113664">
                <a:moveTo>
                  <a:pt x="7568590" y="0"/>
                </a:moveTo>
                <a:lnTo>
                  <a:pt x="7547000" y="4398"/>
                </a:lnTo>
                <a:lnTo>
                  <a:pt x="7528972" y="16408"/>
                </a:lnTo>
                <a:lnTo>
                  <a:pt x="7516612" y="34247"/>
                </a:lnTo>
                <a:lnTo>
                  <a:pt x="7512024" y="56133"/>
                </a:lnTo>
                <a:lnTo>
                  <a:pt x="7512024" y="56997"/>
                </a:lnTo>
                <a:lnTo>
                  <a:pt x="7516491" y="78884"/>
                </a:lnTo>
                <a:lnTo>
                  <a:pt x="7528648" y="96723"/>
                </a:lnTo>
                <a:lnTo>
                  <a:pt x="7546636" y="108732"/>
                </a:lnTo>
                <a:lnTo>
                  <a:pt x="7568590" y="113131"/>
                </a:lnTo>
                <a:lnTo>
                  <a:pt x="7590544" y="108732"/>
                </a:lnTo>
                <a:lnTo>
                  <a:pt x="7608531" y="96723"/>
                </a:lnTo>
                <a:lnTo>
                  <a:pt x="7620689" y="78884"/>
                </a:lnTo>
                <a:lnTo>
                  <a:pt x="7625156" y="56997"/>
                </a:lnTo>
                <a:lnTo>
                  <a:pt x="7625156" y="56133"/>
                </a:lnTo>
                <a:lnTo>
                  <a:pt x="7620507" y="34247"/>
                </a:lnTo>
                <a:lnTo>
                  <a:pt x="7608046" y="16408"/>
                </a:lnTo>
                <a:lnTo>
                  <a:pt x="7589998" y="4398"/>
                </a:lnTo>
                <a:lnTo>
                  <a:pt x="7568590" y="0"/>
                </a:lnTo>
                <a:close/>
              </a:path>
              <a:path w="8402320" h="113664">
                <a:moveTo>
                  <a:pt x="7827632" y="0"/>
                </a:moveTo>
                <a:lnTo>
                  <a:pt x="7806042" y="4398"/>
                </a:lnTo>
                <a:lnTo>
                  <a:pt x="7788014" y="16408"/>
                </a:lnTo>
                <a:lnTo>
                  <a:pt x="7775654" y="34247"/>
                </a:lnTo>
                <a:lnTo>
                  <a:pt x="7771066" y="56133"/>
                </a:lnTo>
                <a:lnTo>
                  <a:pt x="7771066" y="56997"/>
                </a:lnTo>
                <a:lnTo>
                  <a:pt x="7775532" y="78884"/>
                </a:lnTo>
                <a:lnTo>
                  <a:pt x="7787690" y="96723"/>
                </a:lnTo>
                <a:lnTo>
                  <a:pt x="7805677" y="108732"/>
                </a:lnTo>
                <a:lnTo>
                  <a:pt x="7827632" y="113131"/>
                </a:lnTo>
                <a:lnTo>
                  <a:pt x="7849586" y="108732"/>
                </a:lnTo>
                <a:lnTo>
                  <a:pt x="7867573" y="96723"/>
                </a:lnTo>
                <a:lnTo>
                  <a:pt x="7879731" y="78884"/>
                </a:lnTo>
                <a:lnTo>
                  <a:pt x="7884198" y="56997"/>
                </a:lnTo>
                <a:lnTo>
                  <a:pt x="7884198" y="56133"/>
                </a:lnTo>
                <a:lnTo>
                  <a:pt x="7879549" y="34247"/>
                </a:lnTo>
                <a:lnTo>
                  <a:pt x="7867088" y="16408"/>
                </a:lnTo>
                <a:lnTo>
                  <a:pt x="7849040" y="4398"/>
                </a:lnTo>
                <a:lnTo>
                  <a:pt x="7827632" y="0"/>
                </a:lnTo>
                <a:close/>
              </a:path>
              <a:path w="8402320" h="113664">
                <a:moveTo>
                  <a:pt x="8086661" y="0"/>
                </a:moveTo>
                <a:lnTo>
                  <a:pt x="8065071" y="4398"/>
                </a:lnTo>
                <a:lnTo>
                  <a:pt x="8047043" y="16408"/>
                </a:lnTo>
                <a:lnTo>
                  <a:pt x="8034683" y="34247"/>
                </a:lnTo>
                <a:lnTo>
                  <a:pt x="8030095" y="56133"/>
                </a:lnTo>
                <a:lnTo>
                  <a:pt x="8030095" y="56997"/>
                </a:lnTo>
                <a:lnTo>
                  <a:pt x="8034562" y="78884"/>
                </a:lnTo>
                <a:lnTo>
                  <a:pt x="8046719" y="96723"/>
                </a:lnTo>
                <a:lnTo>
                  <a:pt x="8064707" y="108732"/>
                </a:lnTo>
                <a:lnTo>
                  <a:pt x="8086661" y="113131"/>
                </a:lnTo>
                <a:lnTo>
                  <a:pt x="8108615" y="108732"/>
                </a:lnTo>
                <a:lnTo>
                  <a:pt x="8126603" y="96723"/>
                </a:lnTo>
                <a:lnTo>
                  <a:pt x="8138760" y="78884"/>
                </a:lnTo>
                <a:lnTo>
                  <a:pt x="8143227" y="56997"/>
                </a:lnTo>
                <a:lnTo>
                  <a:pt x="8143227" y="56133"/>
                </a:lnTo>
                <a:lnTo>
                  <a:pt x="8138578" y="34247"/>
                </a:lnTo>
                <a:lnTo>
                  <a:pt x="8126117" y="16408"/>
                </a:lnTo>
                <a:lnTo>
                  <a:pt x="8108069" y="4398"/>
                </a:lnTo>
                <a:lnTo>
                  <a:pt x="8086661" y="0"/>
                </a:lnTo>
                <a:close/>
              </a:path>
              <a:path w="8402320" h="113664">
                <a:moveTo>
                  <a:pt x="8345703" y="0"/>
                </a:moveTo>
                <a:lnTo>
                  <a:pt x="8324113" y="4398"/>
                </a:lnTo>
                <a:lnTo>
                  <a:pt x="8306085" y="16408"/>
                </a:lnTo>
                <a:lnTo>
                  <a:pt x="8293725" y="34247"/>
                </a:lnTo>
                <a:lnTo>
                  <a:pt x="8289137" y="56133"/>
                </a:lnTo>
                <a:lnTo>
                  <a:pt x="8289137" y="56997"/>
                </a:lnTo>
                <a:lnTo>
                  <a:pt x="8293604" y="78884"/>
                </a:lnTo>
                <a:lnTo>
                  <a:pt x="8305761" y="96723"/>
                </a:lnTo>
                <a:lnTo>
                  <a:pt x="8323749" y="108732"/>
                </a:lnTo>
                <a:lnTo>
                  <a:pt x="8345703" y="113131"/>
                </a:lnTo>
                <a:lnTo>
                  <a:pt x="8367657" y="108732"/>
                </a:lnTo>
                <a:lnTo>
                  <a:pt x="8385644" y="96723"/>
                </a:lnTo>
                <a:lnTo>
                  <a:pt x="8397802" y="78884"/>
                </a:lnTo>
                <a:lnTo>
                  <a:pt x="8402269" y="56997"/>
                </a:lnTo>
                <a:lnTo>
                  <a:pt x="8402269" y="56133"/>
                </a:lnTo>
                <a:lnTo>
                  <a:pt x="8397620" y="34247"/>
                </a:lnTo>
                <a:lnTo>
                  <a:pt x="8385159" y="16408"/>
                </a:lnTo>
                <a:lnTo>
                  <a:pt x="8367111" y="4398"/>
                </a:lnTo>
                <a:lnTo>
                  <a:pt x="8345703" y="0"/>
                </a:lnTo>
                <a:close/>
              </a:path>
            </a:pathLst>
          </a:custGeom>
          <a:solidFill>
            <a:srgbClr val="E2E3E4"/>
          </a:solidFill>
        </p:spPr>
        <p:txBody>
          <a:bodyPr wrap="square" lIns="0" tIns="0" rIns="0" bIns="0" rtlCol="0"/>
          <a:lstStyle/>
          <a:p>
            <a:endParaRPr sz="1800"/>
          </a:p>
        </p:txBody>
      </p:sp>
      <p:pic>
        <p:nvPicPr>
          <p:cNvPr id="1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7167" y="3684588"/>
            <a:ext cx="10117667" cy="4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p:nvPr userDrawn="1"/>
        </p:nvGrpSpPr>
        <p:grpSpPr>
          <a:xfrm>
            <a:off x="7042563" y="457200"/>
            <a:ext cx="4279740" cy="390996"/>
            <a:chOff x="4495800" y="457200"/>
            <a:chExt cx="3995928" cy="486756"/>
          </a:xfrm>
        </p:grpSpPr>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50275" r="-2153"/>
            <a:stretch/>
          </p:blipFill>
          <p:spPr>
            <a:xfrm>
              <a:off x="4495800" y="479326"/>
              <a:ext cx="1970116" cy="442505"/>
            </a:xfrm>
            <a:prstGeom prst="rect">
              <a:avLst/>
            </a:prstGeom>
          </p:spPr>
        </p:pic>
        <p:pic>
          <p:nvPicPr>
            <p:cNvPr id="14" name="Pictur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2" r="59064"/>
            <a:stretch/>
          </p:blipFill>
          <p:spPr>
            <a:xfrm>
              <a:off x="6781800" y="457200"/>
              <a:ext cx="1709928" cy="486756"/>
            </a:xfrm>
            <a:prstGeom prst="rect">
              <a:avLst/>
            </a:prstGeom>
          </p:spPr>
        </p:pic>
      </p:grpSp>
    </p:spTree>
    <p:extLst>
      <p:ext uri="{BB962C8B-B14F-4D97-AF65-F5344CB8AC3E}">
        <p14:creationId xmlns:p14="http://schemas.microsoft.com/office/powerpoint/2010/main" val="35005287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143000"/>
            <a:ext cx="5384800" cy="5105400"/>
          </a:xfrm>
        </p:spPr>
        <p:txBody>
          <a:bodyPr>
            <a:noAutofit/>
          </a:bodyPr>
          <a:lstStyle>
            <a:lvl1pPr>
              <a:defRPr sz="2400">
                <a:solidFill>
                  <a:srgbClr val="000000"/>
                </a:solidFill>
              </a:defRPr>
            </a:lvl1pPr>
            <a:lvl2pPr>
              <a:defRPr sz="2400">
                <a:solidFill>
                  <a:srgbClr val="000000"/>
                </a:solidFill>
              </a:defRPr>
            </a:lvl2pPr>
            <a:lvl3pPr>
              <a:defRPr sz="2400">
                <a:solidFill>
                  <a:srgbClr val="000000"/>
                </a:solidFill>
              </a:defRPr>
            </a:lvl3pPr>
            <a:lvl4pPr>
              <a:defRPr sz="2400">
                <a:solidFill>
                  <a:srgbClr val="000000"/>
                </a:solidFill>
              </a:defRPr>
            </a:lvl4pPr>
            <a:lvl5pPr>
              <a:defRPr sz="2400">
                <a:solidFill>
                  <a:srgbClr val="000000"/>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143000"/>
            <a:ext cx="5384800" cy="5105400"/>
          </a:xfrm>
        </p:spPr>
        <p:txBody>
          <a:bodyPr>
            <a:noAutofit/>
          </a:bodyPr>
          <a:lstStyle>
            <a:lvl1pPr>
              <a:defRPr sz="2400">
                <a:solidFill>
                  <a:srgbClr val="000000"/>
                </a:solidFill>
              </a:defRPr>
            </a:lvl1pPr>
            <a:lvl2pPr>
              <a:defRPr sz="2400">
                <a:solidFill>
                  <a:srgbClr val="000000"/>
                </a:solidFill>
              </a:defRPr>
            </a:lvl2pPr>
            <a:lvl3pPr>
              <a:defRPr sz="2400">
                <a:solidFill>
                  <a:srgbClr val="000000"/>
                </a:solidFill>
              </a:defRPr>
            </a:lvl3pPr>
            <a:lvl4pPr>
              <a:defRPr sz="2400">
                <a:solidFill>
                  <a:srgbClr val="000000"/>
                </a:solidFill>
              </a:defRPr>
            </a:lvl4pPr>
            <a:lvl5pPr>
              <a:defRPr sz="2400">
                <a:solidFill>
                  <a:srgbClr val="000000"/>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0566400" y="6383180"/>
            <a:ext cx="1016000" cy="246221"/>
          </a:xfrm>
          <a:prstGeom prst="rect">
            <a:avLst/>
          </a:prstGeom>
        </p:spPr>
        <p:txBody>
          <a:bodyPr/>
          <a:lstStyle>
            <a:lvl1pPr algn="r">
              <a:defRPr sz="1000">
                <a:latin typeface="Arial Rounded MT Bold" panose="020F0704030504030204" pitchFamily="34" charset="0"/>
              </a:defRPr>
            </a:lvl1pPr>
          </a:lstStyle>
          <a:p>
            <a:fld id="{B6761BED-127F-4714-AE70-548270172845}" type="slidenum">
              <a:rPr lang="en-US" smtClean="0">
                <a:solidFill>
                  <a:schemeClr val="bg1">
                    <a:lumMod val="65000"/>
                  </a:schemeClr>
                </a:solidFill>
              </a:rPr>
              <a:pPr/>
              <a:t>‹#›</a:t>
            </a:fld>
            <a:endParaRPr lang="en-US" dirty="0">
              <a:solidFill>
                <a:schemeClr val="bg1">
                  <a:lumMod val="65000"/>
                </a:schemeClr>
              </a:solidFill>
            </a:endParaRPr>
          </a:p>
        </p:txBody>
      </p:sp>
      <p:sp>
        <p:nvSpPr>
          <p:cNvPr id="10" name="Title 1"/>
          <p:cNvSpPr>
            <a:spLocks noGrp="1"/>
          </p:cNvSpPr>
          <p:nvPr>
            <p:ph type="title"/>
          </p:nvPr>
        </p:nvSpPr>
        <p:spPr>
          <a:xfrm>
            <a:off x="609600" y="152400"/>
            <a:ext cx="10972800" cy="792162"/>
          </a:xfrm>
        </p:spPr>
        <p:txBody>
          <a:bodyPr anchor="b" anchorCtr="0">
            <a:noAutofit/>
          </a:bodyPr>
          <a:lstStyle>
            <a:lvl1pPr algn="l">
              <a:defRPr sz="2800">
                <a:solidFill>
                  <a:srgbClr val="00A94F"/>
                </a:solidFill>
                <a:latin typeface="Arial Rounded MT Bold" panose="020F0704030504030204" pitchFamily="34" charset="0"/>
              </a:defRPr>
            </a:lvl1pPr>
          </a:lstStyle>
          <a:p>
            <a:r>
              <a:rPr lang="en-US"/>
              <a:t>Click to edit Master title style</a:t>
            </a:r>
            <a:endParaRPr lang="en-US" dirty="0"/>
          </a:p>
        </p:txBody>
      </p:sp>
      <p:pic>
        <p:nvPicPr>
          <p:cNvPr id="12"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833" y="1028701"/>
            <a:ext cx="10727267" cy="5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33871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143000"/>
            <a:ext cx="5386917" cy="639762"/>
          </a:xfrm>
        </p:spPr>
        <p:txBody>
          <a:bodyPr anchor="b">
            <a:noAutofit/>
          </a:bodyPr>
          <a:lstStyle>
            <a:lvl1pPr marL="0" indent="0">
              <a:buNone/>
              <a:defRPr sz="2400" b="0">
                <a:solidFill>
                  <a:srgbClr val="00A94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52600"/>
            <a:ext cx="5386917" cy="4495800"/>
          </a:xfrm>
        </p:spPr>
        <p:txBody>
          <a:bodyPr>
            <a:no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143000"/>
            <a:ext cx="5389033" cy="639762"/>
          </a:xfrm>
        </p:spPr>
        <p:txBody>
          <a:bodyPr anchor="b">
            <a:noAutofit/>
          </a:bodyPr>
          <a:lstStyle>
            <a:lvl1pPr marL="0" indent="0">
              <a:buNone/>
              <a:defRPr sz="2400" b="0">
                <a:solidFill>
                  <a:srgbClr val="00A94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752600"/>
            <a:ext cx="5389033" cy="4495800"/>
          </a:xfrm>
        </p:spPr>
        <p:txBody>
          <a:bodyPr>
            <a:no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lide Number Placeholder 5"/>
          <p:cNvSpPr>
            <a:spLocks noGrp="1"/>
          </p:cNvSpPr>
          <p:nvPr>
            <p:ph type="sldNum" sz="quarter" idx="10"/>
          </p:nvPr>
        </p:nvSpPr>
        <p:spPr>
          <a:xfrm>
            <a:off x="10566400" y="6383180"/>
            <a:ext cx="1016000" cy="246221"/>
          </a:xfrm>
          <a:prstGeom prst="rect">
            <a:avLst/>
          </a:prstGeom>
        </p:spPr>
        <p:txBody>
          <a:bodyPr/>
          <a:lstStyle>
            <a:lvl1pPr algn="r">
              <a:defRPr sz="1000">
                <a:latin typeface="Arial Rounded MT Bold" panose="020F0704030504030204" pitchFamily="34" charset="0"/>
              </a:defRPr>
            </a:lvl1pPr>
          </a:lstStyle>
          <a:p>
            <a:fld id="{B6761BED-127F-4714-AE70-548270172845}" type="slidenum">
              <a:rPr lang="en-US" smtClean="0">
                <a:solidFill>
                  <a:schemeClr val="bg1">
                    <a:lumMod val="65000"/>
                  </a:schemeClr>
                </a:solidFill>
              </a:rPr>
              <a:pPr/>
              <a:t>‹#›</a:t>
            </a:fld>
            <a:endParaRPr lang="en-US" dirty="0">
              <a:solidFill>
                <a:schemeClr val="bg1">
                  <a:lumMod val="65000"/>
                </a:schemeClr>
              </a:solidFill>
            </a:endParaRPr>
          </a:p>
        </p:txBody>
      </p:sp>
      <p:sp>
        <p:nvSpPr>
          <p:cNvPr id="12" name="Title 1"/>
          <p:cNvSpPr>
            <a:spLocks noGrp="1"/>
          </p:cNvSpPr>
          <p:nvPr>
            <p:ph type="title"/>
          </p:nvPr>
        </p:nvSpPr>
        <p:spPr>
          <a:xfrm>
            <a:off x="609600" y="152400"/>
            <a:ext cx="10972800" cy="792162"/>
          </a:xfrm>
        </p:spPr>
        <p:txBody>
          <a:bodyPr anchor="b" anchorCtr="0">
            <a:noAutofit/>
          </a:bodyPr>
          <a:lstStyle>
            <a:lvl1pPr algn="l">
              <a:defRPr sz="2800">
                <a:solidFill>
                  <a:srgbClr val="00A94F"/>
                </a:solidFill>
                <a:latin typeface="Arial Rounded MT Bold" panose="020F0704030504030204" pitchFamily="34" charset="0"/>
              </a:defRPr>
            </a:lvl1pPr>
          </a:lstStyle>
          <a:p>
            <a:r>
              <a:rPr lang="en-US"/>
              <a:t>Click to edit Master title style</a:t>
            </a:r>
            <a:endParaRPr lang="en-US" dirty="0"/>
          </a:p>
        </p:txBody>
      </p:sp>
      <p:pic>
        <p:nvPicPr>
          <p:cNvPr id="13"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833" y="1028701"/>
            <a:ext cx="10727267" cy="5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42645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609600" y="152400"/>
            <a:ext cx="10972800" cy="792162"/>
          </a:xfrm>
        </p:spPr>
        <p:txBody>
          <a:bodyPr anchor="b" anchorCtr="0">
            <a:noAutofit/>
          </a:bodyPr>
          <a:lstStyle>
            <a:lvl1pPr algn="l">
              <a:defRPr sz="2800">
                <a:solidFill>
                  <a:srgbClr val="00A94F"/>
                </a:solidFill>
                <a:latin typeface="Arial Rounded MT Bold" panose="020F0704030504030204" pitchFamily="34" charset="0"/>
              </a:defRPr>
            </a:lvl1pPr>
          </a:lstStyle>
          <a:p>
            <a:r>
              <a:rPr lang="en-US"/>
              <a:t>Click to edit Master 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833" y="1028701"/>
            <a:ext cx="10727267" cy="5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58001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0566400" y="6383180"/>
            <a:ext cx="1016000" cy="246221"/>
          </a:xfrm>
          <a:prstGeom prst="rect">
            <a:avLst/>
          </a:prstGeom>
        </p:spPr>
        <p:txBody>
          <a:bodyPr/>
          <a:lstStyle>
            <a:lvl1pPr algn="r">
              <a:defRPr sz="1000">
                <a:latin typeface="Arial Rounded MT Bold" panose="020F0704030504030204" pitchFamily="34" charset="0"/>
              </a:defRPr>
            </a:lvl1pPr>
          </a:lstStyle>
          <a:p>
            <a:fld id="{B6761BED-127F-4714-AE70-548270172845}" type="slidenum">
              <a:rPr lang="en-US" smtClean="0">
                <a:solidFill>
                  <a:schemeClr val="bg1">
                    <a:lumMod val="65000"/>
                  </a:schemeClr>
                </a:solidFill>
              </a:rPr>
              <a:pPr/>
              <a:t>‹#›</a:t>
            </a:fld>
            <a:endParaRPr lang="en-US" dirty="0">
              <a:solidFill>
                <a:schemeClr val="bg1">
                  <a:lumMod val="65000"/>
                </a:schemeClr>
              </a:solidFill>
            </a:endParaRPr>
          </a:p>
        </p:txBody>
      </p:sp>
    </p:spTree>
    <p:extLst>
      <p:ext uri="{BB962C8B-B14F-4D97-AF65-F5344CB8AC3E}">
        <p14:creationId xmlns:p14="http://schemas.microsoft.com/office/powerpoint/2010/main" val="24075258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no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766733" y="273050"/>
            <a:ext cx="6815667" cy="6005630"/>
          </a:xfrm>
        </p:spPr>
        <p:txBody>
          <a:bodyPr>
            <a:noAutofit/>
          </a:bodyPr>
          <a:lstStyle>
            <a:lvl1pPr>
              <a:defRPr sz="2400">
                <a:solidFill>
                  <a:srgbClr val="000000"/>
                </a:solidFill>
              </a:defRPr>
            </a:lvl1pPr>
            <a:lvl2pPr>
              <a:defRPr sz="2400">
                <a:solidFill>
                  <a:srgbClr val="000000"/>
                </a:solidFill>
              </a:defRPr>
            </a:lvl2pPr>
            <a:lvl3pPr>
              <a:defRPr sz="2400">
                <a:solidFill>
                  <a:srgbClr val="000000"/>
                </a:solidFill>
              </a:defRPr>
            </a:lvl3pPr>
            <a:lvl4pPr>
              <a:defRPr sz="2400">
                <a:solidFill>
                  <a:srgbClr val="000000"/>
                </a:solidFill>
              </a:defRPr>
            </a:lvl4pPr>
            <a:lvl5pPr>
              <a:defRPr sz="2400">
                <a:solidFill>
                  <a:srgbClr val="000000"/>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0"/>
            <a:ext cx="4011084" cy="4813300"/>
          </a:xfrm>
        </p:spPr>
        <p:txBody>
          <a:bodyPr>
            <a:noAutofit/>
          </a:bodyPr>
          <a:lstStyle>
            <a:lvl1pPr marL="0" indent="0">
              <a:buNone/>
              <a:defRPr sz="2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3" name="Slide Number Placeholder 5"/>
          <p:cNvSpPr>
            <a:spLocks noGrp="1"/>
          </p:cNvSpPr>
          <p:nvPr>
            <p:ph type="sldNum" sz="quarter" idx="4"/>
          </p:nvPr>
        </p:nvSpPr>
        <p:spPr>
          <a:xfrm>
            <a:off x="10566400" y="6383180"/>
            <a:ext cx="1016000" cy="246221"/>
          </a:xfrm>
          <a:prstGeom prst="rect">
            <a:avLst/>
          </a:prstGeom>
        </p:spPr>
        <p:txBody>
          <a:bodyPr/>
          <a:lstStyle>
            <a:lvl1pPr algn="r">
              <a:defRPr sz="1000">
                <a:latin typeface="Arial Rounded MT Bold" panose="020F0704030504030204" pitchFamily="34" charset="0"/>
              </a:defRPr>
            </a:lvl1pPr>
          </a:lstStyle>
          <a:p>
            <a:fld id="{B6761BED-127F-4714-AE70-548270172845}" type="slidenum">
              <a:rPr lang="en-US" smtClean="0">
                <a:solidFill>
                  <a:schemeClr val="bg1">
                    <a:lumMod val="65000"/>
                  </a:schemeClr>
                </a:solidFill>
              </a:rPr>
              <a:pPr/>
              <a:t>‹#›</a:t>
            </a:fld>
            <a:endParaRPr lang="en-US" dirty="0">
              <a:solidFill>
                <a:schemeClr val="bg1">
                  <a:lumMod val="65000"/>
                </a:schemeClr>
              </a:solidFill>
            </a:endParaRPr>
          </a:p>
        </p:txBody>
      </p:sp>
    </p:spTree>
    <p:extLst>
      <p:ext uri="{BB962C8B-B14F-4D97-AF65-F5344CB8AC3E}">
        <p14:creationId xmlns:p14="http://schemas.microsoft.com/office/powerpoint/2010/main" val="42810982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740834" y="1143000"/>
            <a:ext cx="4948767" cy="5112706"/>
          </a:xfrm>
        </p:spPr>
        <p:txBody>
          <a:bodyPr>
            <a:no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1" name="Content Placeholder 2"/>
          <p:cNvSpPr>
            <a:spLocks noGrp="1"/>
          </p:cNvSpPr>
          <p:nvPr>
            <p:ph idx="10"/>
          </p:nvPr>
        </p:nvSpPr>
        <p:spPr>
          <a:xfrm>
            <a:off x="5994400" y="1143000"/>
            <a:ext cx="5588000" cy="5105400"/>
          </a:xfrm>
        </p:spPr>
        <p:txBody>
          <a:bodyPr>
            <a:noAutofit/>
          </a:bodyPr>
          <a:lstStyle>
            <a:lvl1pPr>
              <a:defRPr sz="2400">
                <a:solidFill>
                  <a:schemeClr val="tx1"/>
                </a:solidFill>
              </a:defRPr>
            </a:lvl1pPr>
            <a:lvl2pPr>
              <a:defRPr sz="2400">
                <a:solidFill>
                  <a:schemeClr val="tx1"/>
                </a:solidFill>
              </a:defRPr>
            </a:lvl2pPr>
            <a:lvl3pPr>
              <a:defRPr sz="2400">
                <a:solidFill>
                  <a:schemeClr val="tx1"/>
                </a:solidFill>
              </a:defRPr>
            </a:lvl3pPr>
            <a:lvl4pPr>
              <a:defRPr sz="2400">
                <a:solidFill>
                  <a:schemeClr val="tx1"/>
                </a:solidFill>
              </a:defRPr>
            </a:lvl4pPr>
            <a:lvl5pP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5"/>
          <p:cNvSpPr>
            <a:spLocks noGrp="1"/>
          </p:cNvSpPr>
          <p:nvPr>
            <p:ph type="sldNum" sz="quarter" idx="4"/>
          </p:nvPr>
        </p:nvSpPr>
        <p:spPr>
          <a:xfrm>
            <a:off x="10566400" y="6383180"/>
            <a:ext cx="1016000" cy="246221"/>
          </a:xfrm>
          <a:prstGeom prst="rect">
            <a:avLst/>
          </a:prstGeom>
        </p:spPr>
        <p:txBody>
          <a:bodyPr/>
          <a:lstStyle>
            <a:lvl1pPr algn="r">
              <a:defRPr sz="1000">
                <a:latin typeface="Arial Rounded MT Bold" panose="020F0704030504030204" pitchFamily="34" charset="0"/>
              </a:defRPr>
            </a:lvl1pPr>
          </a:lstStyle>
          <a:p>
            <a:fld id="{B6761BED-127F-4714-AE70-548270172845}" type="slidenum">
              <a:rPr lang="en-US" smtClean="0">
                <a:solidFill>
                  <a:schemeClr val="bg1">
                    <a:lumMod val="65000"/>
                  </a:schemeClr>
                </a:solidFill>
              </a:rPr>
              <a:pPr/>
              <a:t>‹#›</a:t>
            </a:fld>
            <a:endParaRPr lang="en-US" dirty="0">
              <a:solidFill>
                <a:schemeClr val="bg1">
                  <a:lumMod val="65000"/>
                </a:schemeClr>
              </a:solidFill>
            </a:endParaRPr>
          </a:p>
        </p:txBody>
      </p:sp>
      <p:sp>
        <p:nvSpPr>
          <p:cNvPr id="12" name="Title 1"/>
          <p:cNvSpPr>
            <a:spLocks noGrp="1"/>
          </p:cNvSpPr>
          <p:nvPr>
            <p:ph type="title"/>
          </p:nvPr>
        </p:nvSpPr>
        <p:spPr>
          <a:xfrm>
            <a:off x="609600" y="152400"/>
            <a:ext cx="10972800" cy="792162"/>
          </a:xfrm>
        </p:spPr>
        <p:txBody>
          <a:bodyPr anchor="b" anchorCtr="0">
            <a:noAutofit/>
          </a:bodyPr>
          <a:lstStyle>
            <a:lvl1pPr algn="l">
              <a:defRPr sz="2800">
                <a:solidFill>
                  <a:srgbClr val="00A94F"/>
                </a:solidFill>
                <a:latin typeface="Arial Rounded MT Bold" panose="020F0704030504030204" pitchFamily="34" charset="0"/>
              </a:defRPr>
            </a:lvl1pPr>
          </a:lstStyle>
          <a:p>
            <a:r>
              <a:rPr lang="en-US"/>
              <a:t>Click to edit Master title style</a:t>
            </a:r>
            <a:endParaRPr lang="en-US" dirty="0"/>
          </a:p>
        </p:txBody>
      </p:sp>
      <p:pic>
        <p:nvPicPr>
          <p:cNvPr id="18"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833" y="1028701"/>
            <a:ext cx="10727267" cy="5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16887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1/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11/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11/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11/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theme" Target="../theme/theme2.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31.xml"/><Relationship Id="rId7"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4.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Text"/>
          <p:cNvSpPr txBox="1">
            <a:spLocks noGrp="1"/>
          </p:cNvSpPr>
          <p:nvPr>
            <p:ph type="title"/>
          </p:nvPr>
        </p:nvSpPr>
        <p:spPr>
          <a:xfrm>
            <a:off x="548640" y="228600"/>
            <a:ext cx="10972800" cy="457200"/>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nchor="ctr">
            <a:noAutofit/>
          </a:bodyPr>
          <a:lstStyle/>
          <a:p>
            <a:r>
              <a:t>Title Text</a:t>
            </a:r>
          </a:p>
        </p:txBody>
      </p:sp>
      <p:sp>
        <p:nvSpPr>
          <p:cNvPr id="7"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pic>
        <p:nvPicPr>
          <p:cNvPr id="4" name="Picture 3">
            <a:extLst>
              <a:ext uri="{FF2B5EF4-FFF2-40B4-BE49-F238E27FC236}">
                <a16:creationId xmlns:a16="http://schemas.microsoft.com/office/drawing/2014/main" id="{946FCCF0-8AC0-ED4C-8D03-7FA5EC4332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26485" y="5878285"/>
            <a:ext cx="1665515" cy="1110343"/>
          </a:xfrm>
          <a:prstGeom prst="rect">
            <a:avLst/>
          </a:prstGeom>
        </p:spPr>
      </p:pic>
    </p:spTree>
    <p:extLst>
      <p:ext uri="{BB962C8B-B14F-4D97-AF65-F5344CB8AC3E}">
        <p14:creationId xmlns:p14="http://schemas.microsoft.com/office/powerpoint/2010/main" val="297052780"/>
      </p:ext>
    </p:extLst>
  </p:cSld>
  <p:clrMap bg1="lt1" tx1="dk1" bg2="lt2" tx2="dk2" accent1="accent1" accent2="accent2" accent3="accent3" accent4="accent4" accent5="accent5" accent6="accent6" hlink="hlink" folHlink="folHlink"/>
  <p:sldLayoutIdLst>
    <p:sldLayoutId id="2147483859" r:id="rId1"/>
    <p:sldLayoutId id="2147483855" r:id="rId2"/>
    <p:sldLayoutId id="2147484013" r:id="rId3"/>
  </p:sldLayoutIdLst>
  <p:transition spd="med"/>
  <p:txStyles>
    <p:titleStyle>
      <a:lvl1pPr marL="0" marR="0" indent="0" algn="l" defTabSz="342900" rtl="0" eaLnBrk="1" latinLnBrk="0" hangingPunct="1">
        <a:lnSpc>
          <a:spcPct val="100000"/>
        </a:lnSpc>
        <a:spcBef>
          <a:spcPts val="0"/>
        </a:spcBef>
        <a:spcAft>
          <a:spcPts val="0"/>
        </a:spcAft>
        <a:buClrTx/>
        <a:buSzTx/>
        <a:buFontTx/>
        <a:buNone/>
        <a:tabLst/>
        <a:defRPr sz="3200" b="1" i="0" u="none" strike="noStrike" cap="none" spc="-45" baseline="0">
          <a:ln>
            <a:noFill/>
          </a:ln>
          <a:solidFill>
            <a:srgbClr val="3E4E8D"/>
          </a:solidFill>
          <a:uFillTx/>
          <a:latin typeface="Montserrat SemiBold" pitchFamily="2" charset="77"/>
          <a:ea typeface="Montserrat SemiBold" pitchFamily="2" charset="77"/>
          <a:cs typeface="Hind Medium" panose="02000000000000000000" pitchFamily="2" charset="77"/>
          <a:sym typeface="Hind Bold"/>
        </a:defRPr>
      </a:lvl1pPr>
      <a:lvl2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2pPr>
      <a:lvl3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3pPr>
      <a:lvl4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4pPr>
      <a:lvl5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5pPr>
      <a:lvl6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6pPr>
      <a:lvl7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7pPr>
      <a:lvl8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8pPr>
      <a:lvl9pPr marL="0" marR="0" indent="0" algn="l" defTabSz="342900" rtl="0" eaLnBrk="1" latinLnBrk="0" hangingPunct="1">
        <a:lnSpc>
          <a:spcPct val="100000"/>
        </a:lnSpc>
        <a:spcBef>
          <a:spcPts val="0"/>
        </a:spcBef>
        <a:spcAft>
          <a:spcPts val="0"/>
        </a:spcAft>
        <a:buClrTx/>
        <a:buSzTx/>
        <a:buFontTx/>
        <a:buNone/>
        <a:tabLst/>
        <a:defRPr sz="2800" b="0" i="0" u="none" strike="noStrike" cap="none" spc="-45" baseline="0">
          <a:ln>
            <a:noFill/>
          </a:ln>
          <a:solidFill>
            <a:srgbClr val="1BA2AC"/>
          </a:solidFill>
          <a:uFillTx/>
          <a:latin typeface="Hind Bold"/>
          <a:ea typeface="Hind Bold"/>
          <a:cs typeface="Hind Bold"/>
          <a:sym typeface="Hind Bold"/>
        </a:defRPr>
      </a:lvl9pPr>
    </p:titleStyle>
    <p:bodyStyle>
      <a:lvl1pPr marL="257175" marR="0" indent="-257175" algn="l" defTabSz="342900" rtl="0" eaLnBrk="1" latinLnBrk="0" hangingPunct="1">
        <a:lnSpc>
          <a:spcPct val="100000"/>
        </a:lnSpc>
        <a:spcBef>
          <a:spcPts val="400"/>
        </a:spcBef>
        <a:spcAft>
          <a:spcPts val="0"/>
        </a:spcAft>
        <a:buClr>
          <a:srgbClr val="52CAE0"/>
        </a:buClr>
        <a:buSzPct val="110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1pPr>
      <a:lvl2pPr marL="584000" marR="0" indent="-241101" algn="l" defTabSz="342900" rtl="0" eaLnBrk="1" latinLnBrk="0" hangingPunct="1">
        <a:lnSpc>
          <a:spcPct val="100000"/>
        </a:lnSpc>
        <a:spcBef>
          <a:spcPts val="400"/>
        </a:spcBef>
        <a:spcAft>
          <a:spcPts val="0"/>
        </a:spcAft>
        <a:buClr>
          <a:srgbClr val="52CAE0"/>
        </a:buClr>
        <a:buSzPct val="110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2pPr>
      <a:lvl3pPr marL="891538" marR="0" indent="-205738"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3pPr>
      <a:lvl4pPr marL="1266092" marR="0" indent="-237392"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4pPr>
      <a:lvl5pPr marL="1608992" marR="0" indent="-237392" algn="l" defTabSz="342900" rtl="0" eaLnBrk="1" latinLnBrk="0" hangingPunct="1">
        <a:lnSpc>
          <a:spcPct val="100000"/>
        </a:lnSpc>
        <a:spcBef>
          <a:spcPts val="400"/>
        </a:spcBef>
        <a:spcAft>
          <a:spcPts val="0"/>
        </a:spcAft>
        <a:buClr>
          <a:srgbClr val="52CAE0"/>
        </a:buClr>
        <a:buSzPct val="99000"/>
        <a:buFont typeface="Arial"/>
        <a:buChar char="•"/>
        <a:tabLst/>
        <a:defRPr sz="2000" b="0" i="0" u="none" strike="noStrike" cap="none" spc="0" baseline="0">
          <a:ln>
            <a:noFill/>
          </a:ln>
          <a:solidFill>
            <a:srgbClr val="777777"/>
          </a:solidFill>
          <a:uFillTx/>
          <a:latin typeface="Montserrat" pitchFamily="2" charset="77"/>
          <a:ea typeface="Montserrat" pitchFamily="2" charset="77"/>
          <a:cs typeface="Hind" panose="02000000000000000000" pitchFamily="2" charset="77"/>
          <a:sym typeface="Hind Regular"/>
        </a:defRPr>
      </a:lvl5pPr>
      <a:lvl6pPr marL="19888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6pPr>
      <a:lvl7pPr marL="23317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7pPr>
      <a:lvl8pPr marL="26746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8pPr>
      <a:lvl9pPr marL="3017517" marR="0" indent="-274317" algn="l" defTabSz="342900" rtl="0" eaLnBrk="1" latinLnBrk="0" hangingPunct="1">
        <a:lnSpc>
          <a:spcPct val="100000"/>
        </a:lnSpc>
        <a:spcBef>
          <a:spcPts val="400"/>
        </a:spcBef>
        <a:spcAft>
          <a:spcPts val="0"/>
        </a:spcAft>
        <a:buClr>
          <a:srgbClr val="00BCDD"/>
        </a:buClr>
        <a:buSzPct val="100000"/>
        <a:buFont typeface="Arial"/>
        <a:buChar char="•"/>
        <a:tabLst/>
        <a:defRPr sz="2400" b="0" i="0" u="none" strike="noStrike" cap="none" spc="0" baseline="0">
          <a:ln>
            <a:noFill/>
          </a:ln>
          <a:solidFill>
            <a:srgbClr val="696F70"/>
          </a:solidFill>
          <a:uFillTx/>
          <a:latin typeface="Hind Regular"/>
          <a:ea typeface="Hind Regular"/>
          <a:cs typeface="Hind Regular"/>
          <a:sym typeface="Hind Regular"/>
        </a:defRPr>
      </a:lvl9pPr>
    </p:bodyStyle>
    <p:otherStyle>
      <a:lvl1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1pPr>
      <a:lvl2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2pPr>
      <a:lvl3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3pPr>
      <a:lvl4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4pPr>
      <a:lvl5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5pPr>
      <a:lvl6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6pPr>
      <a:lvl7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7pPr>
      <a:lvl8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8pPr>
      <a:lvl9pPr marL="0" marR="0" indent="0" algn="l" defTabSz="91440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ind Bold"/>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1/10/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4008" r:id="rId1"/>
    <p:sldLayoutId id="2147484009" r:id="rId2"/>
    <p:sldLayoutId id="2147483663" r:id="rId3"/>
    <p:sldLayoutId id="2147484010" r:id="rId4"/>
    <p:sldLayoutId id="2147483665" r:id="rId5"/>
    <p:sldLayoutId id="2147483666" r:id="rId6"/>
    <p:sldLayoutId id="2147483667" r:id="rId7"/>
    <p:sldLayoutId id="2147484011" r:id="rId8"/>
    <p:sldLayoutId id="2147483669" r:id="rId9"/>
    <p:sldLayoutId id="2147483670" r:id="rId10"/>
    <p:sldLayoutId id="2147483671" r:id="rId11"/>
    <p:sldLayoutId id="2147483672" r:id="rId12"/>
    <p:sldLayoutId id="2147484015" r:id="rId13"/>
    <p:sldLayoutId id="2147484014" r:id="rId14"/>
    <p:sldLayoutId id="2147483854" r:id="rId15"/>
    <p:sldLayoutId id="2147483860" r:id="rId16"/>
    <p:sldLayoutId id="2147483856" r:id="rId17"/>
    <p:sldLayoutId id="2147484012" r:id="rId18"/>
    <p:sldLayoutId id="2147483673" r:id="rId19"/>
    <p:sldLayoutId id="2147483674" r:id="rId20"/>
    <p:sldLayoutId id="2147484016" r:id="rId21"/>
    <p:sldLayoutId id="2147484017" r:id="rId22"/>
    <p:sldLayoutId id="2147483675" r:id="rId23"/>
    <p:sldLayoutId id="2147483676" r:id="rId24"/>
    <p:sldLayoutId id="2147483677" r:id="rId2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 y="6084058"/>
            <a:ext cx="12192000" cy="7739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1" y="6018060"/>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Placeholder 1"/>
          <p:cNvSpPr>
            <a:spLocks noGrp="1"/>
          </p:cNvSpPr>
          <p:nvPr>
            <p:ph type="title"/>
          </p:nvPr>
        </p:nvSpPr>
        <p:spPr>
          <a:xfrm>
            <a:off x="1097280" y="286604"/>
            <a:ext cx="10058400" cy="885232"/>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320801"/>
            <a:ext cx="10058400" cy="4548294"/>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97280" y="6094449"/>
            <a:ext cx="4509655" cy="755553"/>
          </a:xfrm>
          <a:prstGeom prst="rect">
            <a:avLst/>
          </a:prstGeom>
        </p:spPr>
      </p:pic>
    </p:spTree>
    <p:extLst>
      <p:ext uri="{BB962C8B-B14F-4D97-AF65-F5344CB8AC3E}">
        <p14:creationId xmlns:p14="http://schemas.microsoft.com/office/powerpoint/2010/main" val="32826871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915" r:id="rId4"/>
    <p:sldLayoutId id="2147483668" r:id="rId5"/>
    <p:sldLayoutId id="2147484006" r:id="rId6"/>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5"/>
          <p:cNvSpPr>
            <a:spLocks noGrp="1"/>
          </p:cNvSpPr>
          <p:nvPr>
            <p:ph type="sldNum" sz="quarter" idx="4"/>
          </p:nvPr>
        </p:nvSpPr>
        <p:spPr>
          <a:xfrm>
            <a:off x="10566400" y="6356351"/>
            <a:ext cx="1016000" cy="365125"/>
          </a:xfrm>
          <a:prstGeom prst="rect">
            <a:avLst/>
          </a:prstGeom>
        </p:spPr>
        <p:txBody>
          <a:bodyPr/>
          <a:lstStyle>
            <a:lvl1pPr algn="r">
              <a:defRPr/>
            </a:lvl1pPr>
          </a:lstStyle>
          <a:p>
            <a:fld id="{B6761BED-127F-4714-AE70-548270172845}" type="slidenum">
              <a:rPr lang="en-US" sz="1200" smtClean="0">
                <a:solidFill>
                  <a:schemeClr val="bg1">
                    <a:lumMod val="65000"/>
                  </a:schemeClr>
                </a:solidFill>
              </a:rPr>
              <a:pPr/>
              <a:t>‹#›</a:t>
            </a:fld>
            <a:endParaRPr lang="en-US" sz="1200" dirty="0">
              <a:solidFill>
                <a:schemeClr val="bg1">
                  <a:lumMod val="65000"/>
                </a:schemeClr>
              </a:solidFill>
            </a:endParaRPr>
          </a:p>
        </p:txBody>
      </p:sp>
    </p:spTree>
    <p:extLst>
      <p:ext uri="{BB962C8B-B14F-4D97-AF65-F5344CB8AC3E}">
        <p14:creationId xmlns:p14="http://schemas.microsoft.com/office/powerpoint/2010/main" val="2059117905"/>
      </p:ext>
    </p:extLst>
  </p:cSld>
  <p:clrMap bg1="lt1" tx1="dk1" bg2="lt2" tx2="dk2" accent1="accent1" accent2="accent2" accent3="accent3" accent4="accent4" accent5="accent5" accent6="accent6" hlink="hlink" folHlink="folHlink"/>
  <p:sldLayoutIdLst>
    <p:sldLayoutId id="2147483679" r:id="rId1"/>
    <p:sldLayoutId id="2147483681"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Lst>
  <p:hf hdr="0" dt="0"/>
  <p:txStyles>
    <p:titleStyle>
      <a:lvl1pPr algn="l" defTabSz="914400" rtl="0" eaLnBrk="1" latinLnBrk="0" hangingPunct="1">
        <a:spcBef>
          <a:spcPct val="0"/>
        </a:spcBef>
        <a:buNone/>
        <a:defRPr sz="2800" kern="1200">
          <a:solidFill>
            <a:srgbClr val="00A94F"/>
          </a:solidFill>
          <a:latin typeface="Arial Rounded MT Bold" panose="020F0704030504030204" pitchFamily="34" charset="0"/>
          <a:ea typeface="+mj-ea"/>
          <a:cs typeface="+mj-cs"/>
        </a:defRPr>
      </a:lvl1pPr>
    </p:titleStyle>
    <p:bodyStyle>
      <a:lvl1pPr marL="342900" indent="-3429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1pPr>
      <a:lvl2pPr marL="742950" indent="-28575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2pPr>
      <a:lvl3pPr marL="1143000" indent="-2286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3pPr>
      <a:lvl4pPr marL="1600200" indent="-2286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4pPr>
      <a:lvl5pPr marL="2057400" indent="-2286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hyperlink" Target="mailto:Vakharia@bcm.edu" TargetMode="External"/><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8.jpeg"/><Relationship Id="rId9" Type="http://schemas.microsoft.com/office/2007/relationships/diagramDrawing" Target="../diagrams/drawing1.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3.jpeg"/><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40.jpeg"/><Relationship Id="rId7" Type="http://schemas.openxmlformats.org/officeDocument/2006/relationships/diagramColors" Target="../diagrams/colors4.xml"/><Relationship Id="rId2" Type="http://schemas.openxmlformats.org/officeDocument/2006/relationships/image" Target="../media/image39.png"/><Relationship Id="rId1" Type="http://schemas.openxmlformats.org/officeDocument/2006/relationships/slideLayout" Target="../slideLayouts/slideLayout25.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image" Target="../media/image42.jpeg"/><Relationship Id="rId7" Type="http://schemas.openxmlformats.org/officeDocument/2006/relationships/image" Target="../media/image46.jpeg"/><Relationship Id="rId12" Type="http://schemas.microsoft.com/office/2007/relationships/diagramDrawing" Target="../diagrams/drawing5.xml"/><Relationship Id="rId2" Type="http://schemas.openxmlformats.org/officeDocument/2006/relationships/image" Target="../media/image41.jpeg"/><Relationship Id="rId1" Type="http://schemas.openxmlformats.org/officeDocument/2006/relationships/slideLayout" Target="../slideLayouts/slideLayout25.xml"/><Relationship Id="rId6" Type="http://schemas.openxmlformats.org/officeDocument/2006/relationships/image" Target="../media/image45.jpeg"/><Relationship Id="rId11" Type="http://schemas.openxmlformats.org/officeDocument/2006/relationships/diagramColors" Target="../diagrams/colors5.xml"/><Relationship Id="rId5" Type="http://schemas.openxmlformats.org/officeDocument/2006/relationships/image" Target="../media/image44.jpeg"/><Relationship Id="rId10" Type="http://schemas.openxmlformats.org/officeDocument/2006/relationships/diagramQuickStyle" Target="../diagrams/quickStyle5.xml"/><Relationship Id="rId4" Type="http://schemas.openxmlformats.org/officeDocument/2006/relationships/image" Target="../media/image43.jpeg"/><Relationship Id="rId9"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3.xml.rels><?xml version="1.0" encoding="UTF-8" standalone="yes"?>
<Relationships xmlns="http://schemas.openxmlformats.org/package/2006/relationships"><Relationship Id="rId8" Type="http://schemas.openxmlformats.org/officeDocument/2006/relationships/hyperlink" Target="mailto:Vakharia@bcm.edu" TargetMode="External"/><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48.png"/><Relationship Id="rId1" Type="http://schemas.openxmlformats.org/officeDocument/2006/relationships/slideLayout" Target="../slideLayouts/slideLayout2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microsoft.com/office/2018/10/relationships/comments" Target="../comments/modernComment_8A0_EA1932F.xml"/><Relationship Id="rId2" Type="http://schemas.openxmlformats.org/officeDocument/2006/relationships/notesSlide" Target="../notesSlides/notesSlide11.xml"/><Relationship Id="rId1" Type="http://schemas.openxmlformats.org/officeDocument/2006/relationships/slideLayout" Target="../slideLayouts/slideLayout30.xml"/><Relationship Id="rId5" Type="http://schemas.openxmlformats.org/officeDocument/2006/relationships/image" Target="../media/image49.png"/><Relationship Id="rId4" Type="http://schemas.openxmlformats.org/officeDocument/2006/relationships/image" Target="../media/image50.pn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hyperlink" Target="mailto:crainey@t1dexchange.org"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42.xml"/><Relationship Id="rId5" Type="http://schemas.openxmlformats.org/officeDocument/2006/relationships/image" Target="../media/image26.jpe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filled, group, bunch, many&#10;&#10;Description automatically generated">
            <a:extLst>
              <a:ext uri="{FF2B5EF4-FFF2-40B4-BE49-F238E27FC236}">
                <a16:creationId xmlns:a16="http://schemas.microsoft.com/office/drawing/2014/main" id="{85F49C10-8453-A14E-A6D6-AB0A43B242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061F7A1-CFF8-D342-A9AF-5CB080C98BD0}"/>
              </a:ext>
            </a:extLst>
          </p:cNvPr>
          <p:cNvSpPr/>
          <p:nvPr/>
        </p:nvSpPr>
        <p:spPr>
          <a:xfrm>
            <a:off x="0" y="2298503"/>
            <a:ext cx="12192000" cy="2369875"/>
          </a:xfrm>
          <a:prstGeom prst="rect">
            <a:avLst/>
          </a:prstGeom>
          <a:solidFill>
            <a:srgbClr val="FFFFFF">
              <a:alpha val="87000"/>
            </a:srgbClr>
          </a:solidFill>
          <a:ln w="25400" cap="flat">
            <a:noFill/>
            <a:prstDash val="solid"/>
            <a:round/>
          </a:ln>
          <a:effectLst>
            <a:outerShdw dist="23000" sx="1000" sy="1000" rotWithShape="0">
              <a:srgbClr val="000000"/>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algn="ctr"/>
            <a:endParaRPr lang="en-US" sz="4000">
              <a:solidFill>
                <a:srgbClr val="47616E"/>
              </a:solidFill>
              <a:latin typeface="Hind Regular"/>
              <a:cs typeface="Hind Regular"/>
            </a:endParaRPr>
          </a:p>
          <a:p>
            <a:pPr algn="ctr"/>
            <a:r>
              <a:rPr lang="en-US" sz="4000" dirty="0">
                <a:solidFill>
                  <a:srgbClr val="47616E"/>
                </a:solidFill>
                <a:latin typeface="Hind Regular"/>
                <a:cs typeface="Hind Regular"/>
              </a:rPr>
              <a:t>Holistic Care: Transitions, Access, Shared decisions, and Psychological Support </a:t>
            </a:r>
            <a:endParaRPr lang="en-US"/>
          </a:p>
          <a:p>
            <a:pPr algn="ctr"/>
            <a:r>
              <a:rPr lang="en-US" sz="2800" i="1">
                <a:solidFill>
                  <a:srgbClr val="47616E"/>
                </a:solidFill>
                <a:latin typeface="Hind Regular"/>
                <a:cs typeface="Hind Regular"/>
              </a:rPr>
              <a:t>Moderated by Siham </a:t>
            </a:r>
            <a:r>
              <a:rPr lang="en-US" sz="2800" i="1" err="1">
                <a:solidFill>
                  <a:srgbClr val="47616E"/>
                </a:solidFill>
                <a:latin typeface="Hind Regular"/>
                <a:cs typeface="Hind Regular"/>
              </a:rPr>
              <a:t>Accacha</a:t>
            </a:r>
            <a:r>
              <a:rPr lang="en-US" sz="2800" i="1">
                <a:solidFill>
                  <a:srgbClr val="47616E"/>
                </a:solidFill>
                <a:latin typeface="Hind Regular"/>
                <a:cs typeface="Hind Regular"/>
              </a:rPr>
              <a:t>, MD, CDCES</a:t>
            </a:r>
          </a:p>
        </p:txBody>
      </p:sp>
      <p:sp>
        <p:nvSpPr>
          <p:cNvPr id="11" name="TextBox 10">
            <a:extLst>
              <a:ext uri="{FF2B5EF4-FFF2-40B4-BE49-F238E27FC236}">
                <a16:creationId xmlns:a16="http://schemas.microsoft.com/office/drawing/2014/main" id="{FA541A89-5206-2242-9AFB-02DE48E4971E}"/>
              </a:ext>
            </a:extLst>
          </p:cNvPr>
          <p:cNvSpPr txBox="1"/>
          <p:nvPr/>
        </p:nvSpPr>
        <p:spPr>
          <a:xfrm>
            <a:off x="4224542" y="4608613"/>
            <a:ext cx="7722087" cy="523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endParaRPr lang="en-US" sz="2800" b="1">
              <a:solidFill>
                <a:srgbClr val="3E4E8D"/>
              </a:solidFill>
              <a:latin typeface="Montserrat SemiBold"/>
              <a:cs typeface="Hind Bold"/>
            </a:endParaRPr>
          </a:p>
        </p:txBody>
      </p:sp>
    </p:spTree>
    <p:extLst>
      <p:ext uri="{BB962C8B-B14F-4D97-AF65-F5344CB8AC3E}">
        <p14:creationId xmlns:p14="http://schemas.microsoft.com/office/powerpoint/2010/main" val="332920845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a:extLst>
              <a:ext uri="{FF2B5EF4-FFF2-40B4-BE49-F238E27FC236}">
                <a16:creationId xmlns:a16="http://schemas.microsoft.com/office/drawing/2014/main" id="{544CC293-6B31-CB55-1DE0-A4C0A0D3D529}"/>
              </a:ext>
            </a:extLst>
          </p:cNvPr>
          <p:cNvSpPr>
            <a:spLocks noGrp="1"/>
          </p:cNvSpPr>
          <p:nvPr>
            <p:ph type="sldNum" sz="quarter" idx="4"/>
          </p:nvPr>
        </p:nvSpPr>
        <p:spPr>
          <a:xfrm>
            <a:off x="9448800" y="6383180"/>
            <a:ext cx="762000" cy="246221"/>
          </a:xfrm>
        </p:spPr>
        <p:txBody>
          <a:bodyPr/>
          <a:lstStyle/>
          <a:p>
            <a:pPr>
              <a:spcAft>
                <a:spcPts val="600"/>
              </a:spcAft>
            </a:pPr>
            <a:fld id="{B6761BED-127F-4714-AE70-548270172845}" type="slidenum">
              <a:rPr lang="en-US" smtClean="0">
                <a:solidFill>
                  <a:schemeClr val="bg1">
                    <a:lumMod val="65000"/>
                  </a:schemeClr>
                </a:solidFill>
              </a:rPr>
              <a:pPr>
                <a:spcAft>
                  <a:spcPts val="600"/>
                </a:spcAft>
              </a:pPr>
              <a:t>10</a:t>
            </a:fld>
            <a:endParaRPr lang="en-US">
              <a:solidFill>
                <a:schemeClr val="bg1">
                  <a:lumMod val="65000"/>
                </a:schemeClr>
              </a:solidFill>
            </a:endParaRPr>
          </a:p>
        </p:txBody>
      </p:sp>
      <p:sp>
        <p:nvSpPr>
          <p:cNvPr id="2" name="Title 1">
            <a:extLst>
              <a:ext uri="{FF2B5EF4-FFF2-40B4-BE49-F238E27FC236}">
                <a16:creationId xmlns:a16="http://schemas.microsoft.com/office/drawing/2014/main" id="{8A40BD4A-273A-BB1F-DAED-895131E3D17D}"/>
              </a:ext>
            </a:extLst>
          </p:cNvPr>
          <p:cNvSpPr>
            <a:spLocks noGrp="1"/>
          </p:cNvSpPr>
          <p:nvPr>
            <p:ph type="title"/>
          </p:nvPr>
        </p:nvSpPr>
        <p:spPr>
          <a:xfrm>
            <a:off x="1981200" y="152400"/>
            <a:ext cx="8229600" cy="792162"/>
          </a:xfrm>
        </p:spPr>
        <p:txBody>
          <a:bodyPr anchor="b">
            <a:normAutofit/>
          </a:bodyPr>
          <a:lstStyle/>
          <a:p>
            <a:r>
              <a:rPr lang="en-US" dirty="0"/>
              <a:t>Discussion</a:t>
            </a:r>
          </a:p>
        </p:txBody>
      </p:sp>
      <p:sp>
        <p:nvSpPr>
          <p:cNvPr id="3" name="Content Placeholder 2">
            <a:extLst>
              <a:ext uri="{FF2B5EF4-FFF2-40B4-BE49-F238E27FC236}">
                <a16:creationId xmlns:a16="http://schemas.microsoft.com/office/drawing/2014/main" id="{587737DA-9BA5-5F75-C1BC-D939BC888241}"/>
              </a:ext>
            </a:extLst>
          </p:cNvPr>
          <p:cNvSpPr>
            <a:spLocks noGrp="1"/>
          </p:cNvSpPr>
          <p:nvPr>
            <p:ph idx="1"/>
          </p:nvPr>
        </p:nvSpPr>
        <p:spPr>
          <a:xfrm>
            <a:off x="1981200" y="1173162"/>
            <a:ext cx="8229600" cy="5075238"/>
          </a:xfrm>
        </p:spPr>
        <p:txBody>
          <a:bodyPr>
            <a:normAutofit/>
          </a:bodyPr>
          <a:lstStyle/>
          <a:p>
            <a:pPr>
              <a:spcAft>
                <a:spcPts val="400"/>
              </a:spcAft>
            </a:pPr>
            <a:r>
              <a:rPr lang="en-US" dirty="0"/>
              <a:t>Provider education, direct reminders, and EMR integrated reminders were not sufficient to improve HCT tool use​</a:t>
            </a:r>
          </a:p>
          <a:p>
            <a:pPr>
              <a:spcAft>
                <a:spcPts val="400"/>
              </a:spcAft>
            </a:pPr>
            <a:r>
              <a:rPr lang="en-US" dirty="0"/>
              <a:t>Tool engagement was less likely if patients were younger or seen less often in clinic​</a:t>
            </a:r>
          </a:p>
          <a:p>
            <a:pPr>
              <a:spcAft>
                <a:spcPts val="400"/>
              </a:spcAft>
            </a:pPr>
            <a:r>
              <a:rPr lang="en-US" dirty="0"/>
              <a:t>Tool use trended lower in non-English speakers and those with atypical diabetes</a:t>
            </a:r>
          </a:p>
          <a:p>
            <a:pPr>
              <a:spcAft>
                <a:spcPts val="400"/>
              </a:spcAft>
            </a:pPr>
            <a:r>
              <a:rPr lang="en-US" dirty="0"/>
              <a:t>Future interventions targeting increased tool use with our younger population may improve HCT readiness and lead to safer transitions​</a:t>
            </a:r>
          </a:p>
          <a:p>
            <a:pPr>
              <a:spcAft>
                <a:spcPts val="400"/>
              </a:spcAft>
            </a:pPr>
            <a:r>
              <a:rPr lang="en-US" dirty="0"/>
              <a:t>Additional interventions and longitudinal ​studies in this population are needed to ​improve the HCT process</a:t>
            </a:r>
          </a:p>
        </p:txBody>
      </p:sp>
    </p:spTree>
    <p:extLst>
      <p:ext uri="{BB962C8B-B14F-4D97-AF65-F5344CB8AC3E}">
        <p14:creationId xmlns:p14="http://schemas.microsoft.com/office/powerpoint/2010/main" val="556416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p>
        </p:txBody>
      </p:sp>
      <p:sp>
        <p:nvSpPr>
          <p:cNvPr id="5" name="Content Placeholder 2"/>
          <p:cNvSpPr>
            <a:spLocks noGrp="1"/>
          </p:cNvSpPr>
          <p:nvPr>
            <p:ph idx="1"/>
          </p:nvPr>
        </p:nvSpPr>
        <p:spPr/>
        <p:txBody>
          <a:bodyPr/>
          <a:lstStyle/>
          <a:p>
            <a:pPr marL="457200" indent="-457200">
              <a:buFont typeface="+mj-lt"/>
              <a:buAutoNum type="arabicPeriod"/>
            </a:pPr>
            <a:r>
              <a:rPr lang="en-US" sz="2000" dirty="0"/>
              <a:t>Peters A, </a:t>
            </a:r>
            <a:r>
              <a:rPr lang="en-US" sz="2000" dirty="0" err="1"/>
              <a:t>Laffel</a:t>
            </a:r>
            <a:r>
              <a:rPr lang="en-US" sz="2000" dirty="0"/>
              <a:t> L; American Diabetes Association Transitions Working Group. Diabetes care for emerging adults: recommendations for transition from pediatric to adult diabetes care systems. Diabetes Care 2011;34:2477–2485​</a:t>
            </a:r>
          </a:p>
          <a:p>
            <a:pPr marL="457200" indent="-457200">
              <a:buFont typeface="+mj-lt"/>
              <a:buAutoNum type="arabicPeriod"/>
            </a:pPr>
            <a:r>
              <a:rPr lang="en-US" sz="2000" dirty="0"/>
              <a:t>American Diabetes Association Professional Practice Committee; 14. Children and Adolescents: Standards of Care in Diabetes—2025. Diabetes Care 1 January 2025; 48 (Supplement_1): S283–S305​</a:t>
            </a:r>
          </a:p>
          <a:p>
            <a:pPr marL="457200" indent="-457200">
              <a:buFont typeface="+mj-lt"/>
              <a:buAutoNum type="arabicPeriod"/>
            </a:pPr>
            <a:r>
              <a:rPr lang="en-US" sz="2000" dirty="0"/>
              <a:t>Got Transition/Center for Health Care Transition Improvement. Six core elements of health care transition. 2016. https://www.gottransition.org/resources/index.cfm. Accessed June 13, 2025.​</a:t>
            </a:r>
          </a:p>
          <a:p>
            <a:pPr marL="457200" indent="-457200">
              <a:buFont typeface="+mj-lt"/>
              <a:buAutoNum type="arabicPeriod"/>
            </a:pPr>
            <a:r>
              <a:rPr lang="en-US" sz="2000" dirty="0" err="1"/>
              <a:t>Staroselsky</a:t>
            </a:r>
            <a:r>
              <a:rPr lang="en-US" sz="2000" dirty="0"/>
              <a:t> M, et al. Improving electronic health record (EHR) accuracy and increasing compliance with health maintenance clinical guidelines through patient access and input. International journal of medical informatics 75.10-11 (2006): 693-700.</a:t>
            </a:r>
          </a:p>
        </p:txBody>
      </p:sp>
      <p:sp>
        <p:nvSpPr>
          <p:cNvPr id="4" name="Slide Number Placeholder 3"/>
          <p:cNvSpPr>
            <a:spLocks noGrp="1"/>
          </p:cNvSpPr>
          <p:nvPr>
            <p:ph type="sldNum" sz="quarter" idx="4"/>
          </p:nvPr>
        </p:nvSpPr>
        <p:spPr/>
        <p:txBody>
          <a:bodyPr/>
          <a:lstStyle/>
          <a:p>
            <a:fld id="{B6761BED-127F-4714-AE70-548270172845}" type="slidenum">
              <a:rPr lang="en-US" smtClean="0">
                <a:solidFill>
                  <a:schemeClr val="bg1">
                    <a:lumMod val="65000"/>
                  </a:schemeClr>
                </a:solidFill>
              </a:rPr>
              <a:pPr/>
              <a:t>11</a:t>
            </a:fld>
            <a:endParaRPr lang="en-US" dirty="0">
              <a:solidFill>
                <a:schemeClr val="bg1">
                  <a:lumMod val="65000"/>
                </a:schemeClr>
              </a:solidFill>
            </a:endParaRPr>
          </a:p>
        </p:txBody>
      </p:sp>
    </p:spTree>
    <p:extLst>
      <p:ext uri="{BB962C8B-B14F-4D97-AF65-F5344CB8AC3E}">
        <p14:creationId xmlns:p14="http://schemas.microsoft.com/office/powerpoint/2010/main" val="692369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5A540-5B7C-AB02-60A8-3884BDB57054}"/>
            </a:ext>
          </a:extLst>
        </p:cNvPr>
        <p:cNvGrpSpPr/>
        <p:nvPr/>
      </p:nvGrpSpPr>
      <p:grpSpPr>
        <a:xfrm>
          <a:off x="0" y="0"/>
          <a:ext cx="0" cy="0"/>
          <a:chOff x="0" y="0"/>
          <a:chExt cx="0" cy="0"/>
        </a:xfrm>
      </p:grpSpPr>
    </p:spTree>
    <p:extLst>
      <p:ext uri="{BB962C8B-B14F-4D97-AF65-F5344CB8AC3E}">
        <p14:creationId xmlns:p14="http://schemas.microsoft.com/office/powerpoint/2010/main" val="1796652194"/>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C7E695-441F-FAE1-A429-02133CCBFC49}"/>
              </a:ext>
            </a:extLst>
          </p:cNvPr>
          <p:cNvSpPr>
            <a:spLocks noGrp="1"/>
          </p:cNvSpPr>
          <p:nvPr>
            <p:ph type="ctrTitle"/>
          </p:nvPr>
        </p:nvSpPr>
        <p:spPr>
          <a:xfrm>
            <a:off x="394758" y="2420197"/>
            <a:ext cx="8201854" cy="923330"/>
          </a:xfrm>
        </p:spPr>
        <p:txBody>
          <a:bodyPr vert="horz"/>
          <a:lstStyle/>
          <a:p>
            <a:r>
              <a:rPr lang="en-US" sz="3000" b="1" dirty="0">
                <a:solidFill>
                  <a:schemeClr val="tx2">
                    <a:lumMod val="76000"/>
                    <a:lumOff val="24000"/>
                  </a:schemeClr>
                </a:solidFill>
                <a:latin typeface="Calibri"/>
                <a:ea typeface="EB Garamond"/>
                <a:cs typeface="Times New Roman"/>
              </a:rPr>
              <a:t>Next Stop, Adult Care: Implementing A Transition Roadmap for Youth with Diabetes</a:t>
            </a:r>
          </a:p>
        </p:txBody>
      </p:sp>
      <p:sp>
        <p:nvSpPr>
          <p:cNvPr id="5" name="Subtitle 4">
            <a:extLst>
              <a:ext uri="{FF2B5EF4-FFF2-40B4-BE49-F238E27FC236}">
                <a16:creationId xmlns:a16="http://schemas.microsoft.com/office/drawing/2014/main" id="{5E9C21C7-1E66-BFB3-29E6-D5F6A2DAA458}"/>
              </a:ext>
            </a:extLst>
          </p:cNvPr>
          <p:cNvSpPr>
            <a:spLocks noGrp="1"/>
          </p:cNvSpPr>
          <p:nvPr>
            <p:ph type="subTitle" idx="1"/>
          </p:nvPr>
        </p:nvSpPr>
        <p:spPr>
          <a:xfrm>
            <a:off x="394758" y="4922533"/>
            <a:ext cx="6331162" cy="751488"/>
          </a:xfrm>
        </p:spPr>
        <p:txBody>
          <a:bodyPr vert="horz" wrap="square" lIns="0" tIns="0" rIns="0" bIns="0" rtlCol="0" anchor="t">
            <a:spAutoFit/>
          </a:bodyPr>
          <a:lstStyle/>
          <a:p>
            <a:r>
              <a:rPr lang="en-US" sz="1500" b="1" i="1" dirty="0">
                <a:solidFill>
                  <a:schemeClr val="tx2">
                    <a:lumMod val="76000"/>
                    <a:lumOff val="24000"/>
                  </a:schemeClr>
                </a:solidFill>
                <a:latin typeface="Calibri"/>
                <a:cs typeface="Times New Roman"/>
                <a:hlinkClick r:id="rId3">
                  <a:extLst>
                    <a:ext uri="{A12FA001-AC4F-418D-AE19-62706E023703}">
                      <ahyp:hlinkClr xmlns:ahyp="http://schemas.microsoft.com/office/drawing/2018/hyperlinkcolor" val="tx"/>
                    </a:ext>
                  </a:extLst>
                </a:hlinkClick>
              </a:rPr>
              <a:t>Vakharia@bcm.edu</a:t>
            </a:r>
            <a:r>
              <a:rPr lang="en-US" sz="1500" b="1" i="1" dirty="0">
                <a:solidFill>
                  <a:schemeClr val="tx2">
                    <a:lumMod val="76000"/>
                    <a:lumOff val="24000"/>
                  </a:schemeClr>
                </a:solidFill>
                <a:latin typeface="Calibri"/>
                <a:cs typeface="Times New Roman"/>
              </a:rPr>
              <a:t> </a:t>
            </a:r>
            <a:br>
              <a:rPr lang="en-US" sz="1500" b="1" i="1" dirty="0">
                <a:solidFill>
                  <a:schemeClr val="tx2">
                    <a:lumMod val="76000"/>
                    <a:lumOff val="24000"/>
                  </a:schemeClr>
                </a:solidFill>
                <a:latin typeface="Calibri"/>
                <a:ea typeface="Calibri"/>
                <a:cs typeface="Times New Roman"/>
              </a:rPr>
            </a:br>
            <a:r>
              <a:rPr lang="en-US" sz="1500" b="1" i="1" dirty="0">
                <a:solidFill>
                  <a:schemeClr val="tx1"/>
                </a:solidFill>
                <a:latin typeface="Calibri"/>
                <a:cs typeface="Times New Roman"/>
              </a:rPr>
              <a:t>Houston</a:t>
            </a:r>
            <a:r>
              <a:rPr lang="en-US" sz="1500" b="1" i="1" dirty="0">
                <a:solidFill>
                  <a:schemeClr val="tx1"/>
                </a:solidFill>
                <a:latin typeface="Calibri"/>
                <a:ea typeface="Calibri"/>
                <a:cs typeface="Times New Roman"/>
              </a:rPr>
              <a:t>, Texas</a:t>
            </a:r>
          </a:p>
          <a:p>
            <a:endParaRPr lang="en-US" sz="1500" b="1">
              <a:solidFill>
                <a:schemeClr val="tx1"/>
              </a:solidFill>
              <a:latin typeface="Calibri"/>
              <a:ea typeface="Calibri"/>
              <a:cs typeface="Times New Roman"/>
            </a:endParaRPr>
          </a:p>
        </p:txBody>
      </p:sp>
      <p:sp>
        <p:nvSpPr>
          <p:cNvPr id="6" name="Text Placeholder 5">
            <a:extLst>
              <a:ext uri="{FF2B5EF4-FFF2-40B4-BE49-F238E27FC236}">
                <a16:creationId xmlns:a16="http://schemas.microsoft.com/office/drawing/2014/main" id="{96B598DE-3EA5-9E39-F904-ED918AAB768C}"/>
              </a:ext>
            </a:extLst>
          </p:cNvPr>
          <p:cNvSpPr>
            <a:spLocks noGrp="1"/>
          </p:cNvSpPr>
          <p:nvPr>
            <p:ph type="body" sz="quarter" idx="10"/>
          </p:nvPr>
        </p:nvSpPr>
        <p:spPr>
          <a:xfrm>
            <a:off x="394758" y="3749124"/>
            <a:ext cx="8721353" cy="706347"/>
          </a:xfrm>
        </p:spPr>
        <p:txBody>
          <a:bodyPr vert="horz" wrap="square" lIns="0" tIns="0" rIns="0" bIns="0" rtlCol="0" anchor="t">
            <a:spAutoFit/>
          </a:bodyPr>
          <a:lstStyle/>
          <a:p>
            <a:r>
              <a:rPr lang="en-US" sz="1700" b="1" u="sng" dirty="0">
                <a:solidFill>
                  <a:schemeClr val="tx1"/>
                </a:solidFill>
                <a:latin typeface="Calibri"/>
                <a:ea typeface="Noto Sans"/>
                <a:cs typeface="Times New Roman"/>
              </a:rPr>
              <a:t>Mili Vakharia, APRN, FNP-C, CDCES</a:t>
            </a:r>
            <a:r>
              <a:rPr lang="en-US" sz="1700" b="1" dirty="0">
                <a:solidFill>
                  <a:schemeClr val="tx1"/>
                </a:solidFill>
                <a:latin typeface="Calibri"/>
                <a:ea typeface="Noto Sans"/>
                <a:cs typeface="Times New Roman"/>
              </a:rPr>
              <a:t>, Daniel DeSalvo, MD, Don Buckingham, MBOE, CPHQ, Cynthia G. Sanders, DNP, CPNP-PC, Elizabeth Kubota-Mishra, DO, Nelly Miranda, RN, CDCES, Sophia Ebenezer, MD, Meghan Craven, MD, </a:t>
            </a:r>
            <a:r>
              <a:rPr lang="en-US" sz="1700" b="1" err="1">
                <a:solidFill>
                  <a:schemeClr val="tx1"/>
                </a:solidFill>
                <a:latin typeface="Calibri"/>
                <a:ea typeface="Noto Sans"/>
                <a:cs typeface="Times New Roman"/>
              </a:rPr>
              <a:t>Siripoom</a:t>
            </a:r>
            <a:r>
              <a:rPr lang="en-US" sz="1700" b="1" dirty="0">
                <a:solidFill>
                  <a:schemeClr val="tx1"/>
                </a:solidFill>
                <a:latin typeface="Calibri"/>
                <a:ea typeface="Noto Sans"/>
                <a:cs typeface="Times New Roman"/>
              </a:rPr>
              <a:t> McKay, MD, Sarah Lyons, MD, and Grace Kim, MD</a:t>
            </a:r>
          </a:p>
        </p:txBody>
      </p:sp>
      <p:sp>
        <p:nvSpPr>
          <p:cNvPr id="7" name="Text Placeholder 6">
            <a:extLst>
              <a:ext uri="{FF2B5EF4-FFF2-40B4-BE49-F238E27FC236}">
                <a16:creationId xmlns:a16="http://schemas.microsoft.com/office/drawing/2014/main" id="{9B4BBC17-BD69-31FD-7FB5-5DC5542A4CCB}"/>
              </a:ext>
            </a:extLst>
          </p:cNvPr>
          <p:cNvSpPr>
            <a:spLocks noGrp="1"/>
          </p:cNvSpPr>
          <p:nvPr>
            <p:ph type="body" sz="quarter" idx="11"/>
          </p:nvPr>
        </p:nvSpPr>
        <p:spPr>
          <a:xfrm>
            <a:off x="394758" y="5951667"/>
            <a:ext cx="4646083" cy="207749"/>
          </a:xfrm>
        </p:spPr>
        <p:txBody>
          <a:bodyPr vert="horz" wrap="square" lIns="0" tIns="0" rIns="0" bIns="0" rtlCol="0" anchor="t">
            <a:spAutoFit/>
          </a:bodyPr>
          <a:lstStyle/>
          <a:p>
            <a:r>
              <a:rPr lang="en-US" sz="1500" b="1">
                <a:solidFill>
                  <a:schemeClr val="tx1"/>
                </a:solidFill>
                <a:latin typeface="Calibri"/>
                <a:cs typeface="Calibri"/>
              </a:rPr>
              <a:t>Date: November 11, 2025</a:t>
            </a:r>
          </a:p>
        </p:txBody>
      </p:sp>
      <p:sp>
        <p:nvSpPr>
          <p:cNvPr id="13" name="Picture Placeholder 12"/>
          <p:cNvSpPr>
            <a:spLocks noGrp="1"/>
          </p:cNvSpPr>
          <p:nvPr>
            <p:ph type="pic" sz="quarter" idx="12"/>
          </p:nvPr>
        </p:nvSpPr>
        <p:spPr/>
        <p:txBody>
          <a:bodyPr/>
          <a:lstStyle/>
          <a:p>
            <a:endParaRPr lang="en-US"/>
          </a:p>
        </p:txBody>
      </p:sp>
      <p:pic>
        <p:nvPicPr>
          <p:cNvPr id="12" name="Picture 11"/>
          <p:cNvPicPr>
            <a:picLocks noChangeAspect="1"/>
          </p:cNvPicPr>
          <p:nvPr/>
        </p:nvPicPr>
        <p:blipFill rotWithShape="1">
          <a:blip r:embed="rId4" cstate="screen">
            <a:extLst>
              <a:ext uri="{28A0092B-C50C-407E-A947-70E740481C1C}">
                <a14:useLocalDpi xmlns:a14="http://schemas.microsoft.com/office/drawing/2010/main"/>
              </a:ext>
            </a:extLst>
          </a:blip>
          <a:srcRect r="-406"/>
          <a:stretch/>
        </p:blipFill>
        <p:spPr>
          <a:xfrm>
            <a:off x="9285884" y="-92523"/>
            <a:ext cx="2929852" cy="2202677"/>
          </a:xfrm>
          <a:prstGeom prst="rect">
            <a:avLst/>
          </a:prstGeom>
        </p:spPr>
      </p:pic>
      <p:sp>
        <p:nvSpPr>
          <p:cNvPr id="8" name="Subtitle 4">
            <a:extLst>
              <a:ext uri="{FF2B5EF4-FFF2-40B4-BE49-F238E27FC236}">
                <a16:creationId xmlns:a16="http://schemas.microsoft.com/office/drawing/2014/main" id="{EAB78FEB-6FFE-1272-BC42-9FE60EDC1006}"/>
              </a:ext>
            </a:extLst>
          </p:cNvPr>
          <p:cNvSpPr txBox="1">
            <a:spLocks/>
          </p:cNvSpPr>
          <p:nvPr/>
        </p:nvSpPr>
        <p:spPr>
          <a:xfrm>
            <a:off x="394758" y="5725889"/>
            <a:ext cx="5010979" cy="207749"/>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800" i="0"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500" b="1" dirty="0">
                <a:solidFill>
                  <a:schemeClr val="tx1"/>
                </a:solidFill>
                <a:latin typeface="Calibri"/>
                <a:cs typeface="Calibri"/>
              </a:rPr>
              <a:t>The 9</a:t>
            </a:r>
            <a:r>
              <a:rPr lang="en-US" sz="1500" b="1" baseline="30000" dirty="0">
                <a:solidFill>
                  <a:schemeClr val="tx1"/>
                </a:solidFill>
                <a:latin typeface="Calibri"/>
                <a:cs typeface="Calibri"/>
              </a:rPr>
              <a:t>th</a:t>
            </a:r>
            <a:r>
              <a:rPr lang="en-US" sz="1500" b="1" dirty="0">
                <a:solidFill>
                  <a:schemeClr val="tx1"/>
                </a:solidFill>
                <a:latin typeface="Calibri"/>
                <a:cs typeface="Calibri"/>
              </a:rPr>
              <a:t> Annual 2025 T1D Exchange-QI Learning Session</a:t>
            </a:r>
            <a:endParaRPr lang="en-ID" sz="1500" b="1" dirty="0">
              <a:solidFill>
                <a:schemeClr val="tx1"/>
              </a:solidFill>
              <a:latin typeface="Calibri"/>
              <a:cs typeface="Calibri"/>
            </a:endParaRPr>
          </a:p>
        </p:txBody>
      </p:sp>
      <p:graphicFrame>
        <p:nvGraphicFramePr>
          <p:cNvPr id="9" name="Content Placeholder 2">
            <a:extLst>
              <a:ext uri="{FF2B5EF4-FFF2-40B4-BE49-F238E27FC236}">
                <a16:creationId xmlns:a16="http://schemas.microsoft.com/office/drawing/2014/main" id="{18943F3A-97E3-ACA7-2C68-B45452A4D1D5}"/>
              </a:ext>
            </a:extLst>
          </p:cNvPr>
          <p:cNvGraphicFramePr>
            <a:graphicFrameLocks/>
          </p:cNvGraphicFramePr>
          <p:nvPr/>
        </p:nvGraphicFramePr>
        <p:xfrm>
          <a:off x="6472165" y="5725252"/>
          <a:ext cx="2816935" cy="113045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6049615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3DB86-2193-9C0E-72C6-A3EB79C42DA9}"/>
              </a:ext>
            </a:extLst>
          </p:cNvPr>
          <p:cNvSpPr>
            <a:spLocks noGrp="1"/>
          </p:cNvSpPr>
          <p:nvPr>
            <p:ph type="title"/>
          </p:nvPr>
        </p:nvSpPr>
        <p:spPr>
          <a:xfrm>
            <a:off x="6363448" y="914248"/>
            <a:ext cx="4834258" cy="500458"/>
          </a:xfrm>
        </p:spPr>
        <p:txBody>
          <a:bodyPr>
            <a:normAutofit fontScale="90000"/>
          </a:bodyPr>
          <a:lstStyle/>
          <a:p>
            <a:r>
              <a:rPr lang="en-US" sz="3500">
                <a:solidFill>
                  <a:schemeClr val="tx1"/>
                </a:solidFill>
                <a:latin typeface="Calibri"/>
                <a:ea typeface="EB Garamond"/>
                <a:cs typeface="Calibri"/>
              </a:rPr>
              <a:t>Texas Children's Hospital</a:t>
            </a:r>
            <a:endParaRPr lang="en-US" sz="3500" err="1">
              <a:solidFill>
                <a:schemeClr val="tx1"/>
              </a:solidFill>
              <a:latin typeface="Calibri"/>
              <a:cs typeface="Calibri"/>
            </a:endParaRPr>
          </a:p>
        </p:txBody>
      </p:sp>
      <p:graphicFrame>
        <p:nvGraphicFramePr>
          <p:cNvPr id="6" name="Diagram 5">
            <a:extLst>
              <a:ext uri="{FF2B5EF4-FFF2-40B4-BE49-F238E27FC236}">
                <a16:creationId xmlns:a16="http://schemas.microsoft.com/office/drawing/2014/main" id="{8401D54E-603C-7FC3-AF8D-BC871838C7DC}"/>
              </a:ext>
            </a:extLst>
          </p:cNvPr>
          <p:cNvGraphicFramePr/>
          <p:nvPr/>
        </p:nvGraphicFramePr>
        <p:xfrm>
          <a:off x="4464586" y="622877"/>
          <a:ext cx="7567950" cy="56176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0" name="Picture 49" descr="A map of a state&#10;&#10;AI-generated content may be incorrect.">
            <a:extLst>
              <a:ext uri="{FF2B5EF4-FFF2-40B4-BE49-F238E27FC236}">
                <a16:creationId xmlns:a16="http://schemas.microsoft.com/office/drawing/2014/main" id="{AC74B8F6-3986-9780-6C15-64C078634265}"/>
              </a:ext>
            </a:extLst>
          </p:cNvPr>
          <p:cNvPicPr>
            <a:picLocks noChangeAspect="1"/>
          </p:cNvPicPr>
          <p:nvPr/>
        </p:nvPicPr>
        <p:blipFill>
          <a:blip r:embed="rId7" cstate="print"/>
          <a:stretch>
            <a:fillRect/>
          </a:stretch>
        </p:blipFill>
        <p:spPr>
          <a:xfrm>
            <a:off x="240167" y="957263"/>
            <a:ext cx="4080782" cy="4290332"/>
          </a:xfrm>
          <a:prstGeom prst="rect">
            <a:avLst/>
          </a:prstGeom>
        </p:spPr>
      </p:pic>
      <p:sp>
        <p:nvSpPr>
          <p:cNvPr id="887" name="Star: 5 Points 886">
            <a:extLst>
              <a:ext uri="{FF2B5EF4-FFF2-40B4-BE49-F238E27FC236}">
                <a16:creationId xmlns:a16="http://schemas.microsoft.com/office/drawing/2014/main" id="{13DAE177-7F59-3750-9685-9347775B6E11}"/>
              </a:ext>
            </a:extLst>
          </p:cNvPr>
          <p:cNvSpPr/>
          <p:nvPr/>
        </p:nvSpPr>
        <p:spPr>
          <a:xfrm>
            <a:off x="2937710" y="3298657"/>
            <a:ext cx="200526" cy="130342"/>
          </a:xfrm>
          <a:prstGeom prst="star5">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34012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ABB35-E732-1E6F-F8AC-76BF37215FAF}"/>
              </a:ext>
            </a:extLst>
          </p:cNvPr>
          <p:cNvSpPr>
            <a:spLocks noGrp="1"/>
          </p:cNvSpPr>
          <p:nvPr>
            <p:ph type="title" idx="4294967295"/>
          </p:nvPr>
        </p:nvSpPr>
        <p:spPr>
          <a:xfrm>
            <a:off x="503499" y="372774"/>
            <a:ext cx="9906000" cy="682625"/>
          </a:xfrm>
        </p:spPr>
        <p:txBody>
          <a:bodyPr>
            <a:normAutofit/>
          </a:bodyPr>
          <a:lstStyle/>
          <a:p>
            <a:r>
              <a:rPr lang="en-US" sz="3500" dirty="0">
                <a:latin typeface="Calibri"/>
                <a:ea typeface="Calibri"/>
                <a:cs typeface="Calibri"/>
              </a:rPr>
              <a:t>Background</a:t>
            </a:r>
            <a:endParaRPr lang="en-US">
              <a:latin typeface="Calibri"/>
            </a:endParaRPr>
          </a:p>
        </p:txBody>
      </p:sp>
      <p:sp>
        <p:nvSpPr>
          <p:cNvPr id="4" name="TextBox 3">
            <a:extLst>
              <a:ext uri="{FF2B5EF4-FFF2-40B4-BE49-F238E27FC236}">
                <a16:creationId xmlns:a16="http://schemas.microsoft.com/office/drawing/2014/main" id="{A275B96D-E180-7AA9-F020-2FE31A356192}"/>
              </a:ext>
            </a:extLst>
          </p:cNvPr>
          <p:cNvSpPr txBox="1"/>
          <p:nvPr/>
        </p:nvSpPr>
        <p:spPr>
          <a:xfrm>
            <a:off x="2713017" y="6091424"/>
            <a:ext cx="8005082"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100" i="1" dirty="0">
                <a:latin typeface="Calibri"/>
                <a:ea typeface="+mn-lt"/>
                <a:cs typeface="+mn-lt"/>
              </a:rPr>
              <a:t>ADA Standards of Care, Diabetes Care, 2024</a:t>
            </a:r>
            <a:endParaRPr lang="en-US" sz="1100" i="1" dirty="0">
              <a:latin typeface="Calibri"/>
            </a:endParaRPr>
          </a:p>
          <a:p>
            <a:pPr marL="171450" indent="-171450">
              <a:buFont typeface="Arial"/>
              <a:buChar char="•"/>
            </a:pPr>
            <a:r>
              <a:rPr lang="en-US" sz="1100" i="1" dirty="0">
                <a:latin typeface="Calibri"/>
                <a:ea typeface="+mn-lt"/>
                <a:cs typeface="+mn-lt"/>
              </a:rPr>
              <a:t>ISPAD Clinical Practice Consensus Guidelines, Pediatric Diabetes, 2022</a:t>
            </a:r>
          </a:p>
          <a:p>
            <a:pPr marL="171450" indent="-171450">
              <a:buFont typeface="Arial,Sans-Serif"/>
              <a:buChar char="•"/>
            </a:pPr>
            <a:r>
              <a:rPr lang="en-US" sz="1100" i="1" dirty="0">
                <a:latin typeface="Calibri"/>
                <a:ea typeface="Calibri"/>
                <a:cs typeface="Calibri"/>
              </a:rPr>
              <a:t>Bryant et al., Clinical Diabetes, 2024, doi:10.2337/cd23-0014</a:t>
            </a:r>
            <a:endParaRPr lang="en-US" sz="1100" dirty="0">
              <a:latin typeface="Calibri"/>
              <a:ea typeface="Calibri"/>
              <a:cs typeface="Calibri"/>
            </a:endParaRPr>
          </a:p>
          <a:p>
            <a:pPr marL="171450" indent="-171450">
              <a:buFont typeface="Arial"/>
              <a:buChar char="•"/>
            </a:pPr>
            <a:endParaRPr lang="en-US" sz="1100" i="1" dirty="0">
              <a:latin typeface="Calibri"/>
              <a:ea typeface="Calibri"/>
              <a:cs typeface="Calibri"/>
            </a:endParaRPr>
          </a:p>
        </p:txBody>
      </p:sp>
      <p:graphicFrame>
        <p:nvGraphicFramePr>
          <p:cNvPr id="5" name="Diagram 4">
            <a:extLst>
              <a:ext uri="{FF2B5EF4-FFF2-40B4-BE49-F238E27FC236}">
                <a16:creationId xmlns:a16="http://schemas.microsoft.com/office/drawing/2014/main" id="{84C1A18F-393D-9419-9983-9B00691E38E8}"/>
              </a:ext>
            </a:extLst>
          </p:cNvPr>
          <p:cNvGraphicFramePr/>
          <p:nvPr/>
        </p:nvGraphicFramePr>
        <p:xfrm>
          <a:off x="503499" y="1246717"/>
          <a:ext cx="6879006" cy="39744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10" descr="Fig. 2.">
            <a:extLst>
              <a:ext uri="{FF2B5EF4-FFF2-40B4-BE49-F238E27FC236}">
                <a16:creationId xmlns:a16="http://schemas.microsoft.com/office/drawing/2014/main" id="{A633F39A-4CF0-A274-8367-668BC56D5202}"/>
              </a:ext>
            </a:extLst>
          </p:cNvPr>
          <p:cNvPicPr>
            <a:picLocks noChangeAspect="1"/>
          </p:cNvPicPr>
          <p:nvPr/>
        </p:nvPicPr>
        <p:blipFill>
          <a:blip r:embed="rId8" cstate="print"/>
          <a:stretch>
            <a:fillRect/>
          </a:stretch>
        </p:blipFill>
        <p:spPr>
          <a:xfrm>
            <a:off x="7734229" y="1244279"/>
            <a:ext cx="4285669" cy="3781062"/>
          </a:xfrm>
          <a:prstGeom prst="rect">
            <a:avLst/>
          </a:prstGeom>
        </p:spPr>
      </p:pic>
      <p:sp>
        <p:nvSpPr>
          <p:cNvPr id="24" name="TextBox 23">
            <a:extLst>
              <a:ext uri="{FF2B5EF4-FFF2-40B4-BE49-F238E27FC236}">
                <a16:creationId xmlns:a16="http://schemas.microsoft.com/office/drawing/2014/main" id="{6D1E9D3A-9BAB-3478-A79B-1D362154F535}"/>
              </a:ext>
            </a:extLst>
          </p:cNvPr>
          <p:cNvSpPr txBox="1"/>
          <p:nvPr/>
        </p:nvSpPr>
        <p:spPr>
          <a:xfrm>
            <a:off x="7745643" y="5129126"/>
            <a:ext cx="4282633"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u="none" strike="noStrike" baseline="0" dirty="0" err="1">
                <a:latin typeface="Arial" pitchFamily="34" charset="0"/>
                <a:cs typeface="Arial" pitchFamily="34" charset="0"/>
              </a:rPr>
              <a:t>Corathers</a:t>
            </a:r>
            <a:r>
              <a:rPr lang="en-US" sz="1000" i="1" u="none" strike="noStrike" baseline="0" dirty="0">
                <a:latin typeface="Arial" pitchFamily="34" charset="0"/>
                <a:cs typeface="Arial" pitchFamily="34" charset="0"/>
              </a:rPr>
              <a:t> et al., </a:t>
            </a:r>
            <a:r>
              <a:rPr lang="en-US" sz="1000" dirty="0">
                <a:latin typeface="Arial" pitchFamily="34" charset="0"/>
                <a:cs typeface="Arial" pitchFamily="34" charset="0"/>
              </a:rPr>
              <a:t>2022). Prolonged lapses between pediatric and adult care are associated with rise in HbA1c and inpatient days among patients with type 1 diabetes. </a:t>
            </a:r>
            <a:r>
              <a:rPr lang="en-US" sz="1000" i="1" dirty="0">
                <a:latin typeface="Arial" pitchFamily="34" charset="0"/>
                <a:cs typeface="Arial" pitchFamily="34" charset="0"/>
              </a:rPr>
              <a:t>Diabetes Research and Clinical Practice</a:t>
            </a:r>
            <a:r>
              <a:rPr lang="en-US" sz="1000" dirty="0">
                <a:latin typeface="Arial" pitchFamily="34" charset="0"/>
                <a:cs typeface="Arial" pitchFamily="34" charset="0"/>
              </a:rPr>
              <a:t>, </a:t>
            </a:r>
            <a:r>
              <a:rPr lang="en-US" sz="1000" i="1" dirty="0">
                <a:latin typeface="Arial" pitchFamily="34" charset="0"/>
                <a:cs typeface="Arial" pitchFamily="34" charset="0"/>
              </a:rPr>
              <a:t>192</a:t>
            </a:r>
            <a:r>
              <a:rPr lang="en-US" sz="1000" dirty="0">
                <a:latin typeface="Arial" pitchFamily="34" charset="0"/>
                <a:cs typeface="Arial" pitchFamily="34" charset="0"/>
              </a:rPr>
              <a:t>, 110113. https://doi.org/10.1016/j.diabres.2022.110113</a:t>
            </a:r>
            <a:r>
              <a:rPr lang="en-US" sz="1000" i="1" u="none" strike="noStrike" baseline="0" dirty="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33479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949426E9-4236-402A-98BF-11E2D7B63DD3}"/>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dgm id="{C7D0DBD5-09DF-446D-8696-4A1882A8951E}"/>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dgm id="{93DADB74-4D8F-4771-BE2C-457BFB4D13C0}"/>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dgm id="{BBA85F17-A1E4-4BDC-8E36-4B8E52669CB6}"/>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1EF534D5-3F59-4F74-8425-B82DC1B40FEC}"/>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graphicEl>
                                              <a:dgm id="{A00955BE-18B2-47D7-8B98-8FBD9567A5F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5DEFFD8-EF1D-5B69-4084-032E5B8CC8DE}"/>
              </a:ext>
            </a:extLst>
          </p:cNvPr>
          <p:cNvSpPr>
            <a:spLocks noGrp="1"/>
          </p:cNvSpPr>
          <p:nvPr>
            <p:ph type="title"/>
          </p:nvPr>
        </p:nvSpPr>
        <p:spPr>
          <a:xfrm>
            <a:off x="575736" y="566521"/>
            <a:ext cx="11040533" cy="500458"/>
          </a:xfrm>
        </p:spPr>
        <p:txBody>
          <a:bodyPr>
            <a:noAutofit/>
          </a:bodyPr>
          <a:lstStyle/>
          <a:p>
            <a:r>
              <a:rPr lang="en-US" sz="3500" dirty="0">
                <a:solidFill>
                  <a:schemeClr val="tx1"/>
                </a:solidFill>
                <a:latin typeface="Calibri"/>
                <a:ea typeface="Calibri"/>
                <a:cs typeface="Calibri"/>
              </a:rPr>
              <a:t>Provider Survey</a:t>
            </a:r>
          </a:p>
        </p:txBody>
      </p:sp>
      <p:pic>
        <p:nvPicPr>
          <p:cNvPr id="4" name="Picture 3">
            <a:extLst>
              <a:ext uri="{FF2B5EF4-FFF2-40B4-BE49-F238E27FC236}">
                <a16:creationId xmlns:a16="http://schemas.microsoft.com/office/drawing/2014/main" id="{457C470F-D769-3D36-D5C2-DEE1BEC25C28}"/>
              </a:ext>
            </a:extLst>
          </p:cNvPr>
          <p:cNvPicPr>
            <a:picLocks noChangeAspect="1"/>
          </p:cNvPicPr>
          <p:nvPr/>
        </p:nvPicPr>
        <p:blipFill>
          <a:blip r:embed="rId3" cstate="print"/>
          <a:stretch>
            <a:fillRect/>
          </a:stretch>
        </p:blipFill>
        <p:spPr>
          <a:xfrm>
            <a:off x="2376201" y="2700458"/>
            <a:ext cx="5727393" cy="3875183"/>
          </a:xfrm>
          <a:prstGeom prst="rect">
            <a:avLst/>
          </a:prstGeom>
        </p:spPr>
      </p:pic>
      <p:pic>
        <p:nvPicPr>
          <p:cNvPr id="5" name="Picture 4" descr="A table with numbers and percentages&#10;&#10;AI-generated content may be incorrect.">
            <a:extLst>
              <a:ext uri="{FF2B5EF4-FFF2-40B4-BE49-F238E27FC236}">
                <a16:creationId xmlns:a16="http://schemas.microsoft.com/office/drawing/2014/main" id="{AED02999-CF7F-02AF-7244-6FD851C3FF3A}"/>
              </a:ext>
            </a:extLst>
          </p:cNvPr>
          <p:cNvPicPr>
            <a:picLocks noChangeAspect="1"/>
          </p:cNvPicPr>
          <p:nvPr/>
        </p:nvPicPr>
        <p:blipFill>
          <a:blip r:embed="rId4" cstate="print"/>
          <a:stretch>
            <a:fillRect/>
          </a:stretch>
        </p:blipFill>
        <p:spPr>
          <a:xfrm>
            <a:off x="2591519" y="1115343"/>
            <a:ext cx="5305425" cy="1657350"/>
          </a:xfrm>
          <a:prstGeom prst="rect">
            <a:avLst/>
          </a:prstGeom>
        </p:spPr>
      </p:pic>
      <p:sp>
        <p:nvSpPr>
          <p:cNvPr id="6" name="TextBox 5">
            <a:extLst>
              <a:ext uri="{FF2B5EF4-FFF2-40B4-BE49-F238E27FC236}">
                <a16:creationId xmlns:a16="http://schemas.microsoft.com/office/drawing/2014/main" id="{4AC75448-4B0E-A68A-7445-38EECC6E071F}"/>
              </a:ext>
            </a:extLst>
          </p:cNvPr>
          <p:cNvSpPr txBox="1"/>
          <p:nvPr/>
        </p:nvSpPr>
        <p:spPr>
          <a:xfrm>
            <a:off x="2455332" y="5705529"/>
            <a:ext cx="3017921" cy="230605"/>
          </a:xfrm>
          <a:prstGeom prst="rect">
            <a:avLst/>
          </a:prstGeom>
          <a:noFill/>
          <a:ln w="28575">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7" name="TextBox 6">
            <a:extLst>
              <a:ext uri="{FF2B5EF4-FFF2-40B4-BE49-F238E27FC236}">
                <a16:creationId xmlns:a16="http://schemas.microsoft.com/office/drawing/2014/main" id="{6E59477E-A760-A89F-973C-10A41B9B41E8}"/>
              </a:ext>
            </a:extLst>
          </p:cNvPr>
          <p:cNvSpPr txBox="1"/>
          <p:nvPr/>
        </p:nvSpPr>
        <p:spPr>
          <a:xfrm>
            <a:off x="2455331" y="6337214"/>
            <a:ext cx="3017921" cy="230605"/>
          </a:xfrm>
          <a:prstGeom prst="rect">
            <a:avLst/>
          </a:prstGeom>
          <a:noFill/>
          <a:ln w="28575">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9" name="TextBox 8">
            <a:extLst>
              <a:ext uri="{FF2B5EF4-FFF2-40B4-BE49-F238E27FC236}">
                <a16:creationId xmlns:a16="http://schemas.microsoft.com/office/drawing/2014/main" id="{1B821D29-1B14-F4FD-D5E0-2BFD481E7B7C}"/>
              </a:ext>
            </a:extLst>
          </p:cNvPr>
          <p:cNvSpPr txBox="1"/>
          <p:nvPr/>
        </p:nvSpPr>
        <p:spPr>
          <a:xfrm>
            <a:off x="2455332" y="5941041"/>
            <a:ext cx="3017921" cy="230605"/>
          </a:xfrm>
          <a:prstGeom prst="rect">
            <a:avLst/>
          </a:prstGeom>
          <a:noFill/>
          <a:ln w="28575">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61BC6A2D-6984-85EE-0F6C-6B2BCB4DB3F8}"/>
              </a:ext>
            </a:extLst>
          </p:cNvPr>
          <p:cNvSpPr txBox="1"/>
          <p:nvPr/>
        </p:nvSpPr>
        <p:spPr>
          <a:xfrm>
            <a:off x="2592028" y="1588281"/>
            <a:ext cx="2282432" cy="198350"/>
          </a:xfrm>
          <a:prstGeom prst="rect">
            <a:avLst/>
          </a:prstGeom>
          <a:noFill/>
          <a:ln w="28575">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b="1"/>
          </a:p>
        </p:txBody>
      </p:sp>
    </p:spTree>
    <p:extLst>
      <p:ext uri="{BB962C8B-B14F-4D97-AF65-F5344CB8AC3E}">
        <p14:creationId xmlns:p14="http://schemas.microsoft.com/office/powerpoint/2010/main" val="37112615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Box 7">
            <a:extLst>
              <a:ext uri="{FF2B5EF4-FFF2-40B4-BE49-F238E27FC236}">
                <a16:creationId xmlns:a16="http://schemas.microsoft.com/office/drawing/2014/main" id="{3E8371A5-EC3B-69F3-97E5-5086289D7D3F}"/>
              </a:ext>
            </a:extLst>
          </p:cNvPr>
          <p:cNvSpPr txBox="1">
            <a:spLocks noChangeArrowheads="1"/>
          </p:cNvSpPr>
          <p:nvPr/>
        </p:nvSpPr>
        <p:spPr bwMode="auto">
          <a:xfrm>
            <a:off x="6008194" y="5961497"/>
            <a:ext cx="222584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strike="noStrike" kern="1200" cap="none" spc="0" normalizeH="0" baseline="0" noProof="0" dirty="0">
                <a:ln>
                  <a:noFill/>
                </a:ln>
                <a:solidFill>
                  <a:schemeClr val="tx2">
                    <a:lumMod val="76000"/>
                    <a:lumOff val="24000"/>
                  </a:schemeClr>
                </a:solidFill>
                <a:effectLst/>
                <a:uLnTx/>
                <a:uFillTx/>
                <a:latin typeface="Cambria"/>
                <a:ea typeface="MS PGothic"/>
              </a:rPr>
              <a:t>Supplies/Measurement</a:t>
            </a:r>
            <a:endParaRPr lang="en-US" sz="1400" b="1" i="0" strike="noStrike" kern="1200" cap="none" spc="0" normalizeH="0" baseline="0" noProof="0" dirty="0">
              <a:ln>
                <a:noFill/>
              </a:ln>
              <a:solidFill>
                <a:schemeClr val="tx2">
                  <a:lumMod val="76000"/>
                  <a:lumOff val="24000"/>
                </a:schemeClr>
              </a:solidFill>
              <a:effectLst/>
              <a:uLnTx/>
              <a:uFillTx/>
              <a:latin typeface="Cambria"/>
              <a:ea typeface="MS PGothic"/>
            </a:endParaRPr>
          </a:p>
        </p:txBody>
      </p:sp>
      <p:sp>
        <p:nvSpPr>
          <p:cNvPr id="12" name="Text Box 15">
            <a:extLst>
              <a:ext uri="{FF2B5EF4-FFF2-40B4-BE49-F238E27FC236}">
                <a16:creationId xmlns:a16="http://schemas.microsoft.com/office/drawing/2014/main" id="{5D29EF85-4A15-6E15-696C-FD8D6D3B5F4A}"/>
              </a:ext>
            </a:extLst>
          </p:cNvPr>
          <p:cNvSpPr txBox="1">
            <a:spLocks noChangeArrowheads="1"/>
          </p:cNvSpPr>
          <p:nvPr/>
        </p:nvSpPr>
        <p:spPr bwMode="auto">
          <a:xfrm>
            <a:off x="868112" y="772490"/>
            <a:ext cx="29210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t">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strike="noStrike" kern="1200" cap="none" spc="0" normalizeH="0" baseline="0" noProof="0" dirty="0">
                <a:ln>
                  <a:noFill/>
                </a:ln>
                <a:solidFill>
                  <a:schemeClr val="tx2">
                    <a:lumMod val="76000"/>
                    <a:lumOff val="24000"/>
                  </a:schemeClr>
                </a:solidFill>
                <a:effectLst/>
                <a:uLnTx/>
                <a:uFillTx/>
                <a:latin typeface="Cambria"/>
                <a:ea typeface="MS PGothic"/>
              </a:rPr>
              <a:t>Policies/Process</a:t>
            </a:r>
            <a:endParaRPr lang="en-US" sz="1400" b="1" i="0" strike="noStrike" kern="1200" cap="none" spc="0" normalizeH="0" baseline="0" noProof="0" dirty="0">
              <a:ln>
                <a:noFill/>
              </a:ln>
              <a:solidFill>
                <a:schemeClr val="tx2">
                  <a:lumMod val="76000"/>
                  <a:lumOff val="24000"/>
                </a:schemeClr>
              </a:solidFill>
              <a:effectLst/>
              <a:uLnTx/>
              <a:uFillTx/>
              <a:latin typeface="Cambria"/>
              <a:ea typeface="MS PGothic"/>
            </a:endParaRPr>
          </a:p>
        </p:txBody>
      </p:sp>
      <p:sp>
        <p:nvSpPr>
          <p:cNvPr id="13" name="Text Box 17">
            <a:extLst>
              <a:ext uri="{FF2B5EF4-FFF2-40B4-BE49-F238E27FC236}">
                <a16:creationId xmlns:a16="http://schemas.microsoft.com/office/drawing/2014/main" id="{1D0EB386-29CE-F52B-4A6D-DB49299BAEA1}"/>
              </a:ext>
            </a:extLst>
          </p:cNvPr>
          <p:cNvSpPr txBox="1">
            <a:spLocks noChangeArrowheads="1"/>
          </p:cNvSpPr>
          <p:nvPr/>
        </p:nvSpPr>
        <p:spPr bwMode="auto">
          <a:xfrm>
            <a:off x="5606980" y="755816"/>
            <a:ext cx="2044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t">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strike="noStrike" kern="1200" cap="none" spc="0" normalizeH="0" baseline="0" noProof="0" dirty="0">
                <a:ln>
                  <a:noFill/>
                </a:ln>
                <a:solidFill>
                  <a:schemeClr val="tx2">
                    <a:lumMod val="76000"/>
                    <a:lumOff val="24000"/>
                  </a:schemeClr>
                </a:solidFill>
                <a:effectLst/>
                <a:uLnTx/>
                <a:uFillTx/>
                <a:latin typeface="Cambria"/>
                <a:ea typeface="MS PGothic"/>
              </a:rPr>
              <a:t>Patients/Staff</a:t>
            </a:r>
            <a:endParaRPr lang="en-US" sz="1400" b="1" i="0" strike="noStrike" kern="1200" cap="none" spc="0" normalizeH="0" baseline="0" noProof="0" dirty="0">
              <a:ln>
                <a:noFill/>
              </a:ln>
              <a:solidFill>
                <a:schemeClr val="tx2">
                  <a:lumMod val="76000"/>
                  <a:lumOff val="24000"/>
                </a:schemeClr>
              </a:solidFill>
              <a:effectLst/>
              <a:uLnTx/>
              <a:uFillTx/>
              <a:latin typeface="Cambria"/>
              <a:ea typeface="MS PGothic"/>
            </a:endParaRPr>
          </a:p>
        </p:txBody>
      </p:sp>
      <p:sp>
        <p:nvSpPr>
          <p:cNvPr id="15" name="Line 52">
            <a:extLst>
              <a:ext uri="{FF2B5EF4-FFF2-40B4-BE49-F238E27FC236}">
                <a16:creationId xmlns:a16="http://schemas.microsoft.com/office/drawing/2014/main" id="{E67E8987-6F58-654B-A497-F0550CE20DED}"/>
              </a:ext>
            </a:extLst>
          </p:cNvPr>
          <p:cNvSpPr>
            <a:spLocks noChangeShapeType="1"/>
          </p:cNvSpPr>
          <p:nvPr/>
        </p:nvSpPr>
        <p:spPr bwMode="auto">
          <a:xfrm flipV="1">
            <a:off x="2633813" y="3414172"/>
            <a:ext cx="7252321" cy="27502"/>
          </a:xfrm>
          <a:prstGeom prst="line">
            <a:avLst/>
          </a:prstGeom>
          <a:ln>
            <a:headEnd/>
            <a:tailEnd type="triangle" w="med" len="lg"/>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accent1"/>
          </a:lnRef>
          <a:fillRef idx="0">
            <a:schemeClr val="accent1"/>
          </a:fillRef>
          <a:effectRef idx="2">
            <a:schemeClr val="accent1"/>
          </a:effectRef>
          <a:fontRef idx="minor">
            <a:schemeClr val="tx1"/>
          </a:fontRef>
        </p:style>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20" name="Rectangle 32">
            <a:extLst>
              <a:ext uri="{FF2B5EF4-FFF2-40B4-BE49-F238E27FC236}">
                <a16:creationId xmlns:a16="http://schemas.microsoft.com/office/drawing/2014/main" id="{03DA377B-D4B2-6C16-6E4C-818349D1E01A}"/>
              </a:ext>
            </a:extLst>
          </p:cNvPr>
          <p:cNvSpPr>
            <a:spLocks noChangeArrowheads="1"/>
          </p:cNvSpPr>
          <p:nvPr/>
        </p:nvSpPr>
        <p:spPr bwMode="auto">
          <a:xfrm>
            <a:off x="880444" y="2475607"/>
            <a:ext cx="22479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Calibri"/>
            </a:endParaRPr>
          </a:p>
        </p:txBody>
      </p:sp>
      <p:sp>
        <p:nvSpPr>
          <p:cNvPr id="21" name="Rectangle 35">
            <a:extLst>
              <a:ext uri="{FF2B5EF4-FFF2-40B4-BE49-F238E27FC236}">
                <a16:creationId xmlns:a16="http://schemas.microsoft.com/office/drawing/2014/main" id="{E8EFBFEE-BE72-F69F-1DAE-710F3965EE66}"/>
              </a:ext>
            </a:extLst>
          </p:cNvPr>
          <p:cNvSpPr>
            <a:spLocks noChangeArrowheads="1"/>
          </p:cNvSpPr>
          <p:nvPr/>
        </p:nvSpPr>
        <p:spPr bwMode="auto">
          <a:xfrm>
            <a:off x="87707" y="1666975"/>
            <a:ext cx="269105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endParaRPr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Calibri"/>
            </a:endParaRPr>
          </a:p>
        </p:txBody>
      </p:sp>
      <p:sp>
        <p:nvSpPr>
          <p:cNvPr id="22" name="Rectangle 31">
            <a:extLst>
              <a:ext uri="{FF2B5EF4-FFF2-40B4-BE49-F238E27FC236}">
                <a16:creationId xmlns:a16="http://schemas.microsoft.com/office/drawing/2014/main" id="{BD381FD6-C162-40AE-37E6-954464437A3D}"/>
              </a:ext>
            </a:extLst>
          </p:cNvPr>
          <p:cNvSpPr>
            <a:spLocks noChangeArrowheads="1"/>
          </p:cNvSpPr>
          <p:nvPr/>
        </p:nvSpPr>
        <p:spPr bwMode="auto">
          <a:xfrm>
            <a:off x="1017827" y="1380528"/>
            <a:ext cx="1869989"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prstClr val="black"/>
                </a:solidFill>
                <a:latin typeface="Calibri"/>
                <a:ea typeface="MS PGothic"/>
              </a:rPr>
              <a:t>No standardized transition policy/process</a:t>
            </a:r>
            <a:endParaRPr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Calibri"/>
            </a:endParaRPr>
          </a:p>
        </p:txBody>
      </p:sp>
      <p:sp>
        <p:nvSpPr>
          <p:cNvPr id="23" name="Rectangle 25">
            <a:extLst>
              <a:ext uri="{FF2B5EF4-FFF2-40B4-BE49-F238E27FC236}">
                <a16:creationId xmlns:a16="http://schemas.microsoft.com/office/drawing/2014/main" id="{903BB2AC-F681-A69F-9EA7-51609FB0AEF8}"/>
              </a:ext>
            </a:extLst>
          </p:cNvPr>
          <p:cNvSpPr>
            <a:spLocks noChangeArrowheads="1"/>
          </p:cNvSpPr>
          <p:nvPr/>
        </p:nvSpPr>
        <p:spPr bwMode="auto">
          <a:xfrm>
            <a:off x="6478672" y="3550985"/>
            <a:ext cx="16256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ctr" anchorCtr="1">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Calibri"/>
            </a:endParaRPr>
          </a:p>
        </p:txBody>
      </p:sp>
      <p:sp>
        <p:nvSpPr>
          <p:cNvPr id="29" name="Rectangle 29">
            <a:extLst>
              <a:ext uri="{FF2B5EF4-FFF2-40B4-BE49-F238E27FC236}">
                <a16:creationId xmlns:a16="http://schemas.microsoft.com/office/drawing/2014/main" id="{51483451-E8B0-84AB-97D5-3430F9B9BE1C}"/>
              </a:ext>
            </a:extLst>
          </p:cNvPr>
          <p:cNvSpPr>
            <a:spLocks noChangeArrowheads="1"/>
          </p:cNvSpPr>
          <p:nvPr/>
        </p:nvSpPr>
        <p:spPr bwMode="auto">
          <a:xfrm>
            <a:off x="6083480" y="3871165"/>
            <a:ext cx="1347458"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prstClr val="black"/>
                </a:solidFill>
                <a:latin typeface="Calibri"/>
                <a:ea typeface="MS PGothic"/>
              </a:rPr>
              <a:t>No list of adult providers</a:t>
            </a:r>
            <a:endParaRPr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Calibri"/>
            </a:endParaRPr>
          </a:p>
        </p:txBody>
      </p:sp>
      <p:sp>
        <p:nvSpPr>
          <p:cNvPr id="30" name="Rectangle 26">
            <a:extLst>
              <a:ext uri="{FF2B5EF4-FFF2-40B4-BE49-F238E27FC236}">
                <a16:creationId xmlns:a16="http://schemas.microsoft.com/office/drawing/2014/main" id="{5E5F127F-7C74-2B61-3AD1-8C5B7525A1CE}"/>
              </a:ext>
            </a:extLst>
          </p:cNvPr>
          <p:cNvSpPr>
            <a:spLocks noChangeArrowheads="1"/>
          </p:cNvSpPr>
          <p:nvPr/>
        </p:nvSpPr>
        <p:spPr bwMode="auto">
          <a:xfrm>
            <a:off x="5197138" y="4641618"/>
            <a:ext cx="179070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prstClr val="black"/>
                </a:solidFill>
                <a:latin typeface="Calibri"/>
                <a:ea typeface="MS PGothic"/>
              </a:rPr>
              <a:t>No standardized transition education plan or materials</a:t>
            </a:r>
            <a:endParaRPr kumimoji="0"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1" name="Line 61">
            <a:extLst>
              <a:ext uri="{FF2B5EF4-FFF2-40B4-BE49-F238E27FC236}">
                <a16:creationId xmlns:a16="http://schemas.microsoft.com/office/drawing/2014/main" id="{F7469955-C42D-B77F-9F4D-6D2D7EA58D94}"/>
              </a:ext>
            </a:extLst>
          </p:cNvPr>
          <p:cNvSpPr>
            <a:spLocks noChangeShapeType="1"/>
          </p:cNvSpPr>
          <p:nvPr/>
        </p:nvSpPr>
        <p:spPr bwMode="auto">
          <a:xfrm>
            <a:off x="6623177" y="1055202"/>
            <a:ext cx="1260475" cy="2184400"/>
          </a:xfrm>
          <a:prstGeom prst="line">
            <a:avLst/>
          </a:prstGeom>
          <a:ln>
            <a:headEnd/>
            <a:tailEnd type="triangle" w="med" len="lg"/>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0">
            <a:schemeClr val="accent1"/>
          </a:fillRef>
          <a:effectRef idx="1">
            <a:schemeClr val="accent1"/>
          </a:effectRef>
          <a:fontRef idx="minor">
            <a:schemeClr val="tx1"/>
          </a:fontRef>
        </p:style>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3" name="Line 62">
            <a:extLst>
              <a:ext uri="{FF2B5EF4-FFF2-40B4-BE49-F238E27FC236}">
                <a16:creationId xmlns:a16="http://schemas.microsoft.com/office/drawing/2014/main" id="{7A346C27-E97A-8FE1-C315-133DF1347928}"/>
              </a:ext>
            </a:extLst>
          </p:cNvPr>
          <p:cNvSpPr>
            <a:spLocks noChangeShapeType="1"/>
          </p:cNvSpPr>
          <p:nvPr/>
        </p:nvSpPr>
        <p:spPr bwMode="auto">
          <a:xfrm>
            <a:off x="2678336" y="1092386"/>
            <a:ext cx="1260475" cy="2184400"/>
          </a:xfrm>
          <a:prstGeom prst="line">
            <a:avLst/>
          </a:prstGeom>
          <a:ln>
            <a:headEnd/>
            <a:tailEnd type="triangle" w="med" len="lg"/>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0">
            <a:schemeClr val="accent1"/>
          </a:fillRef>
          <a:effectRef idx="1">
            <a:schemeClr val="accent1"/>
          </a:effectRef>
          <a:fontRef idx="minor">
            <a:schemeClr val="tx1"/>
          </a:fontRef>
        </p:style>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4" name="Line 63">
            <a:extLst>
              <a:ext uri="{FF2B5EF4-FFF2-40B4-BE49-F238E27FC236}">
                <a16:creationId xmlns:a16="http://schemas.microsoft.com/office/drawing/2014/main" id="{AFE58612-0077-A914-10DF-2B654CE3D469}"/>
              </a:ext>
            </a:extLst>
          </p:cNvPr>
          <p:cNvSpPr>
            <a:spLocks noChangeShapeType="1"/>
          </p:cNvSpPr>
          <p:nvPr/>
        </p:nvSpPr>
        <p:spPr bwMode="auto">
          <a:xfrm rot="10800000" flipH="1">
            <a:off x="6630116" y="3537611"/>
            <a:ext cx="1260475" cy="2184400"/>
          </a:xfrm>
          <a:prstGeom prst="line">
            <a:avLst/>
          </a:prstGeom>
          <a:ln>
            <a:headEnd/>
            <a:tailEnd type="triangle" w="med" len="lg"/>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0">
            <a:schemeClr val="accent1"/>
          </a:fillRef>
          <a:effectRef idx="1">
            <a:schemeClr val="accent1"/>
          </a:effectRef>
          <a:fontRef idx="minor">
            <a:schemeClr val="tx1"/>
          </a:fontRef>
        </p:style>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6" name="Line 63">
            <a:extLst>
              <a:ext uri="{FF2B5EF4-FFF2-40B4-BE49-F238E27FC236}">
                <a16:creationId xmlns:a16="http://schemas.microsoft.com/office/drawing/2014/main" id="{7D78446B-FE1B-2BD0-165D-2486B7C3D68E}"/>
              </a:ext>
            </a:extLst>
          </p:cNvPr>
          <p:cNvSpPr>
            <a:spLocks noChangeShapeType="1"/>
          </p:cNvSpPr>
          <p:nvPr/>
        </p:nvSpPr>
        <p:spPr bwMode="auto">
          <a:xfrm rot="10800000" flipH="1">
            <a:off x="2700486" y="3537611"/>
            <a:ext cx="1260475" cy="2184400"/>
          </a:xfrm>
          <a:prstGeom prst="line">
            <a:avLst/>
          </a:prstGeom>
          <a:ln>
            <a:headEnd/>
            <a:tailEnd type="triangle" w="med" len="lg"/>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0">
            <a:schemeClr val="accent1"/>
          </a:fillRef>
          <a:effectRef idx="1">
            <a:schemeClr val="accent1"/>
          </a:effectRef>
          <a:fontRef idx="minor">
            <a:schemeClr val="tx1"/>
          </a:fontRef>
        </p:style>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7" name="Rectangle 25">
            <a:extLst>
              <a:ext uri="{FF2B5EF4-FFF2-40B4-BE49-F238E27FC236}">
                <a16:creationId xmlns:a16="http://schemas.microsoft.com/office/drawing/2014/main" id="{34273AD7-40D2-5D2D-A0CB-5FBB5F1D8E1A}"/>
              </a:ext>
            </a:extLst>
          </p:cNvPr>
          <p:cNvSpPr>
            <a:spLocks noChangeArrowheads="1"/>
          </p:cNvSpPr>
          <p:nvPr/>
        </p:nvSpPr>
        <p:spPr bwMode="auto">
          <a:xfrm>
            <a:off x="1130213" y="3673352"/>
            <a:ext cx="239395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prstClr val="black"/>
                </a:solidFill>
                <a:latin typeface="Calibri"/>
                <a:ea typeface="MS PGothic"/>
                <a:cs typeface="Calibri"/>
              </a:rPr>
              <a:t>No standardized documentation in EPIC about education and assessments</a:t>
            </a:r>
            <a:endParaRPr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Calibri"/>
            </a:endParaRPr>
          </a:p>
        </p:txBody>
      </p:sp>
      <p:sp>
        <p:nvSpPr>
          <p:cNvPr id="38" name="Rectangle 25">
            <a:extLst>
              <a:ext uri="{FF2B5EF4-FFF2-40B4-BE49-F238E27FC236}">
                <a16:creationId xmlns:a16="http://schemas.microsoft.com/office/drawing/2014/main" id="{F0BA4A19-9442-C331-E11B-7E08D4CBEC76}"/>
              </a:ext>
            </a:extLst>
          </p:cNvPr>
          <p:cNvSpPr>
            <a:spLocks noChangeArrowheads="1"/>
          </p:cNvSpPr>
          <p:nvPr/>
        </p:nvSpPr>
        <p:spPr bwMode="auto">
          <a:xfrm>
            <a:off x="444745" y="4643044"/>
            <a:ext cx="269105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prstClr val="black"/>
                </a:solidFill>
                <a:latin typeface="Calibri"/>
                <a:ea typeface="MS PGothic"/>
              </a:rPr>
              <a:t>No standardized documentation in epic about date of transition goal</a:t>
            </a:r>
            <a:endParaRPr kumimoji="0"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9" name="Rectangle 25">
            <a:extLst>
              <a:ext uri="{FF2B5EF4-FFF2-40B4-BE49-F238E27FC236}">
                <a16:creationId xmlns:a16="http://schemas.microsoft.com/office/drawing/2014/main" id="{3C9D2244-8FE5-E9A1-50D9-3572E8381D78}"/>
              </a:ext>
            </a:extLst>
          </p:cNvPr>
          <p:cNvSpPr>
            <a:spLocks noChangeArrowheads="1"/>
          </p:cNvSpPr>
          <p:nvPr/>
        </p:nvSpPr>
        <p:spPr bwMode="auto">
          <a:xfrm>
            <a:off x="575641" y="5068496"/>
            <a:ext cx="218161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Calibri"/>
            </a:endParaRPr>
          </a:p>
        </p:txBody>
      </p:sp>
      <p:sp>
        <p:nvSpPr>
          <p:cNvPr id="41" name="Rectangle 25">
            <a:extLst>
              <a:ext uri="{FF2B5EF4-FFF2-40B4-BE49-F238E27FC236}">
                <a16:creationId xmlns:a16="http://schemas.microsoft.com/office/drawing/2014/main" id="{2DDB8BEF-9D98-43DC-4D8E-0C0C6E610B13}"/>
              </a:ext>
            </a:extLst>
          </p:cNvPr>
          <p:cNvSpPr>
            <a:spLocks noChangeArrowheads="1"/>
          </p:cNvSpPr>
          <p:nvPr/>
        </p:nvSpPr>
        <p:spPr bwMode="auto">
          <a:xfrm>
            <a:off x="1789764" y="5859306"/>
            <a:ext cx="222751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strike="noStrike" kern="1200" cap="none" spc="0" normalizeH="0" baseline="0" noProof="0" dirty="0">
                <a:ln>
                  <a:noFill/>
                </a:ln>
                <a:solidFill>
                  <a:schemeClr val="tx2">
                    <a:lumMod val="76000"/>
                    <a:lumOff val="24000"/>
                  </a:schemeClr>
                </a:solidFill>
                <a:effectLst/>
                <a:uLnTx/>
                <a:uFillTx/>
                <a:latin typeface="Cambria"/>
                <a:ea typeface="MS PGothic"/>
              </a:rPr>
              <a:t>Technology/Equipment</a:t>
            </a:r>
            <a:endParaRPr lang="en-US" sz="1400" b="1" i="0" strike="noStrike" kern="1200" cap="none" spc="0" normalizeH="0" baseline="0" noProof="0" dirty="0">
              <a:ln>
                <a:noFill/>
              </a:ln>
              <a:solidFill>
                <a:schemeClr val="tx2">
                  <a:lumMod val="76000"/>
                  <a:lumOff val="24000"/>
                </a:schemeClr>
              </a:solidFill>
              <a:effectLst/>
              <a:uLnTx/>
              <a:uFillTx/>
              <a:latin typeface="Cambria"/>
              <a:ea typeface="MS PGothic"/>
            </a:endParaRPr>
          </a:p>
        </p:txBody>
      </p:sp>
      <p:sp>
        <p:nvSpPr>
          <p:cNvPr id="42" name="Rectangle 47">
            <a:extLst>
              <a:ext uri="{FF2B5EF4-FFF2-40B4-BE49-F238E27FC236}">
                <a16:creationId xmlns:a16="http://schemas.microsoft.com/office/drawing/2014/main" id="{F8126C66-5C30-7921-7322-2CEDA1B7C96A}"/>
              </a:ext>
            </a:extLst>
          </p:cNvPr>
          <p:cNvSpPr>
            <a:spLocks noChangeArrowheads="1"/>
          </p:cNvSpPr>
          <p:nvPr/>
        </p:nvSpPr>
        <p:spPr bwMode="auto">
          <a:xfrm>
            <a:off x="2825293" y="1685886"/>
            <a:ext cx="23571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sz="1200" b="1" i="0" u="none" strike="noStrike" kern="1200" cap="none" spc="0" normalizeH="0" baseline="0" noProof="0" dirty="0">
              <a:ln>
                <a:noFill/>
              </a:ln>
              <a:solidFill>
                <a:srgbClr val="00B050"/>
              </a:solidFill>
              <a:effectLst/>
              <a:uLnTx/>
              <a:uFillTx/>
              <a:latin typeface="Calibri"/>
              <a:ea typeface="MS PGothic" panose="020B0600070205080204" pitchFamily="34" charset="-128"/>
              <a:cs typeface="Calibri"/>
            </a:endParaRPr>
          </a:p>
        </p:txBody>
      </p:sp>
      <p:sp>
        <p:nvSpPr>
          <p:cNvPr id="44" name="TextBox 43">
            <a:extLst>
              <a:ext uri="{FF2B5EF4-FFF2-40B4-BE49-F238E27FC236}">
                <a16:creationId xmlns:a16="http://schemas.microsoft.com/office/drawing/2014/main" id="{F94B2510-BB39-CA5D-D56E-DE0BF4EBFF1A}"/>
              </a:ext>
            </a:extLst>
          </p:cNvPr>
          <p:cNvSpPr txBox="1"/>
          <p:nvPr/>
        </p:nvSpPr>
        <p:spPr>
          <a:xfrm>
            <a:off x="2290922" y="108733"/>
            <a:ext cx="7274427" cy="523220"/>
          </a:xfrm>
          <a:prstGeom prst="rect">
            <a:avLst/>
          </a:prstGeom>
          <a:noFill/>
        </p:spPr>
        <p:txBody>
          <a:bodyPr wrap="none" lIns="91440" tIns="45720" rIns="91440" bIns="45720" rtlCol="0" anchor="t">
            <a:spAutoFit/>
          </a:bodyPr>
          <a:lstStyle/>
          <a:p>
            <a:pPr algn="ctr">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Key Drivers: </a:t>
            </a:r>
            <a:r>
              <a:rPr lang="en-US" sz="2800" dirty="0">
                <a:solidFill>
                  <a:prstClr val="black"/>
                </a:solidFill>
                <a:latin typeface="Calibri"/>
              </a:rPr>
              <a:t>What obstructs transition planning?</a:t>
            </a: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 name="Rectangle 32">
            <a:extLst>
              <a:ext uri="{FF2B5EF4-FFF2-40B4-BE49-F238E27FC236}">
                <a16:creationId xmlns:a16="http://schemas.microsoft.com/office/drawing/2014/main" id="{1A56C57B-58F7-5A5C-1453-16DF4458AC37}"/>
              </a:ext>
            </a:extLst>
          </p:cNvPr>
          <p:cNvSpPr>
            <a:spLocks noChangeArrowheads="1"/>
          </p:cNvSpPr>
          <p:nvPr/>
        </p:nvSpPr>
        <p:spPr bwMode="auto">
          <a:xfrm>
            <a:off x="5401181" y="2634050"/>
            <a:ext cx="22479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prstClr val="black"/>
                </a:solidFill>
                <a:latin typeface="Calibri"/>
                <a:ea typeface="MS PGothic"/>
              </a:rPr>
              <a:t>Providers/CDCES/SW unaware of transition roles</a:t>
            </a:r>
            <a:endParaRPr kumimoji="0"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66" name="Rectangle 35">
            <a:extLst>
              <a:ext uri="{FF2B5EF4-FFF2-40B4-BE49-F238E27FC236}">
                <a16:creationId xmlns:a16="http://schemas.microsoft.com/office/drawing/2014/main" id="{C2C83E52-14E6-DC7F-C50B-F34CEBB0B7E9}"/>
              </a:ext>
            </a:extLst>
          </p:cNvPr>
          <p:cNvSpPr>
            <a:spLocks noChangeArrowheads="1"/>
          </p:cNvSpPr>
          <p:nvPr/>
        </p:nvSpPr>
        <p:spPr bwMode="auto">
          <a:xfrm>
            <a:off x="4918170" y="1833590"/>
            <a:ext cx="2273422"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a:spcBef>
                <a:spcPct val="0"/>
              </a:spcBef>
              <a:spcAft>
                <a:spcPct val="0"/>
              </a:spcAft>
              <a:defRPr/>
            </a:pPr>
            <a:r>
              <a:rPr lang="en-US" sz="1400" b="1" dirty="0">
                <a:solidFill>
                  <a:prstClr val="black"/>
                </a:solidFill>
                <a:latin typeface="Calibri"/>
                <a:ea typeface="MS PGothic"/>
              </a:rPr>
              <a:t>Providers &amp; CDCES not comfortable with certain topics</a:t>
            </a:r>
            <a:endParaRPr lang="en-US" sz="1400" b="1" dirty="0" err="1">
              <a:solidFill>
                <a:prstClr val="black"/>
              </a:solidFill>
              <a:ea typeface="MS PGothic"/>
              <a:cs typeface="Calibri"/>
            </a:endParaRPr>
          </a:p>
          <a:p>
            <a:pPr algn="ctr">
              <a:spcBef>
                <a:spcPct val="0"/>
              </a:spcBef>
              <a:spcAft>
                <a:spcPct val="0"/>
              </a:spcAft>
              <a:defRPr/>
            </a:pPr>
            <a:endParaRPr lang="en-US" sz="1400" b="1" i="0" u="none" strike="noStrike" kern="1200" cap="none" spc="0" normalizeH="0" baseline="0" noProof="0">
              <a:ln>
                <a:noFill/>
              </a:ln>
              <a:solidFill>
                <a:prstClr val="black"/>
              </a:solidFill>
              <a:effectLst/>
              <a:uLnTx/>
              <a:uFillTx/>
              <a:latin typeface="Calibri"/>
              <a:ea typeface="MS PGothic" panose="020B0600070205080204" pitchFamily="34" charset="-128"/>
              <a:cs typeface="Calibri"/>
            </a:endParaRPr>
          </a:p>
        </p:txBody>
      </p:sp>
      <p:sp>
        <p:nvSpPr>
          <p:cNvPr id="67" name="Rectangle 31">
            <a:extLst>
              <a:ext uri="{FF2B5EF4-FFF2-40B4-BE49-F238E27FC236}">
                <a16:creationId xmlns:a16="http://schemas.microsoft.com/office/drawing/2014/main" id="{2CEF7B45-C174-1FC4-F67E-CEF99EB9C37A}"/>
              </a:ext>
            </a:extLst>
          </p:cNvPr>
          <p:cNvSpPr>
            <a:spLocks noChangeArrowheads="1"/>
          </p:cNvSpPr>
          <p:nvPr/>
        </p:nvSpPr>
        <p:spPr bwMode="auto">
          <a:xfrm>
            <a:off x="4925404" y="1253071"/>
            <a:ext cx="1756856"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prstClr val="black"/>
                </a:solidFill>
                <a:latin typeface="Calibri"/>
                <a:ea typeface="MS PGothic"/>
              </a:rPr>
              <a:t>Patients not aware of transition plan</a:t>
            </a:r>
            <a:endParaRPr kumimoji="0" lang="en-US" sz="1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4" name="Rectangle 47">
            <a:extLst>
              <a:ext uri="{FF2B5EF4-FFF2-40B4-BE49-F238E27FC236}">
                <a16:creationId xmlns:a16="http://schemas.microsoft.com/office/drawing/2014/main" id="{B660F2D1-0E1E-9385-5D31-B776CAB60024}"/>
              </a:ext>
            </a:extLst>
          </p:cNvPr>
          <p:cNvSpPr>
            <a:spLocks noChangeArrowheads="1"/>
          </p:cNvSpPr>
          <p:nvPr/>
        </p:nvSpPr>
        <p:spPr bwMode="auto">
          <a:xfrm>
            <a:off x="3003797" y="1383144"/>
            <a:ext cx="195711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srgbClr val="00B050"/>
                </a:solidFill>
                <a:latin typeface="Calibri"/>
                <a:ea typeface="MS PGothic"/>
              </a:rPr>
              <a:t>Create transition policy document- Clinic CPT</a:t>
            </a:r>
            <a:endParaRPr lang="en-US" sz="1400" b="1" i="0" u="none" strike="noStrike" kern="1200" cap="none" spc="0" normalizeH="0" baseline="0" noProof="0" dirty="0">
              <a:ln>
                <a:noFill/>
              </a:ln>
              <a:solidFill>
                <a:srgbClr val="00B050"/>
              </a:solidFill>
              <a:effectLst/>
              <a:uLnTx/>
              <a:uFillTx/>
              <a:latin typeface="Calibri"/>
              <a:ea typeface="MS PGothic" panose="020B0600070205080204" pitchFamily="34" charset="-128"/>
              <a:cs typeface="Calibri"/>
            </a:endParaRPr>
          </a:p>
        </p:txBody>
      </p:sp>
      <p:sp>
        <p:nvSpPr>
          <p:cNvPr id="5" name="Rectangle 47">
            <a:extLst>
              <a:ext uri="{FF2B5EF4-FFF2-40B4-BE49-F238E27FC236}">
                <a16:creationId xmlns:a16="http://schemas.microsoft.com/office/drawing/2014/main" id="{EA9591F0-FFCF-229B-ECBA-436E6929C18E}"/>
              </a:ext>
            </a:extLst>
          </p:cNvPr>
          <p:cNvSpPr>
            <a:spLocks noChangeArrowheads="1"/>
          </p:cNvSpPr>
          <p:nvPr/>
        </p:nvSpPr>
        <p:spPr bwMode="auto">
          <a:xfrm>
            <a:off x="3116834" y="2563016"/>
            <a:ext cx="23571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sz="1200" b="1" i="0" u="none" strike="noStrike" kern="1200" cap="none" spc="0" normalizeH="0" baseline="0" noProof="0" dirty="0">
              <a:ln>
                <a:noFill/>
              </a:ln>
              <a:solidFill>
                <a:srgbClr val="00B050"/>
              </a:solidFill>
              <a:effectLst/>
              <a:uLnTx/>
              <a:uFillTx/>
              <a:latin typeface="Calibri"/>
              <a:ea typeface="MS PGothic" panose="020B0600070205080204" pitchFamily="34" charset="-128"/>
              <a:cs typeface="Calibri"/>
            </a:endParaRPr>
          </a:p>
        </p:txBody>
      </p:sp>
      <p:sp>
        <p:nvSpPr>
          <p:cNvPr id="6" name="Rectangle 47">
            <a:extLst>
              <a:ext uri="{FF2B5EF4-FFF2-40B4-BE49-F238E27FC236}">
                <a16:creationId xmlns:a16="http://schemas.microsoft.com/office/drawing/2014/main" id="{8869A957-27EE-438F-0334-3D2CC9202D50}"/>
              </a:ext>
            </a:extLst>
          </p:cNvPr>
          <p:cNvSpPr>
            <a:spLocks noChangeArrowheads="1"/>
          </p:cNvSpPr>
          <p:nvPr/>
        </p:nvSpPr>
        <p:spPr bwMode="auto">
          <a:xfrm>
            <a:off x="7048117" y="1067623"/>
            <a:ext cx="23571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endParaRPr lang="en-US" sz="1200" b="1" i="0" u="none" strike="noStrike" kern="1200" cap="none" spc="0" normalizeH="0" baseline="0" noProof="0" dirty="0">
              <a:ln>
                <a:noFill/>
              </a:ln>
              <a:solidFill>
                <a:srgbClr val="00B050"/>
              </a:solidFill>
              <a:effectLst/>
              <a:uLnTx/>
              <a:uFillTx/>
              <a:latin typeface="Calibri"/>
              <a:ea typeface="MS PGothic" panose="020B0600070205080204" pitchFamily="34" charset="-128"/>
              <a:cs typeface="Calibri"/>
            </a:endParaRPr>
          </a:p>
        </p:txBody>
      </p:sp>
      <p:sp>
        <p:nvSpPr>
          <p:cNvPr id="7" name="Rectangle 47">
            <a:extLst>
              <a:ext uri="{FF2B5EF4-FFF2-40B4-BE49-F238E27FC236}">
                <a16:creationId xmlns:a16="http://schemas.microsoft.com/office/drawing/2014/main" id="{B8C48F38-9BF7-B458-5171-149CB80F72B4}"/>
              </a:ext>
            </a:extLst>
          </p:cNvPr>
          <p:cNvSpPr>
            <a:spLocks noChangeArrowheads="1"/>
          </p:cNvSpPr>
          <p:nvPr/>
        </p:nvSpPr>
        <p:spPr bwMode="auto">
          <a:xfrm>
            <a:off x="7191592" y="1776291"/>
            <a:ext cx="235716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srgbClr val="00B050"/>
                </a:solidFill>
                <a:latin typeface="Calibri"/>
                <a:ea typeface="MS PGothic"/>
              </a:rPr>
              <a:t>Transition workshop on safe and healthy healthcare transition</a:t>
            </a:r>
            <a:endParaRPr lang="en-US" sz="1400" b="1" i="0" u="none" strike="noStrike" kern="1200" cap="none" spc="0" normalizeH="0" baseline="0" noProof="0" dirty="0">
              <a:ln>
                <a:noFill/>
              </a:ln>
              <a:solidFill>
                <a:srgbClr val="00B050"/>
              </a:solidFill>
              <a:effectLst/>
              <a:uLnTx/>
              <a:uFillTx/>
              <a:latin typeface="Calibri"/>
              <a:ea typeface="MS PGothic" panose="020B0600070205080204" pitchFamily="34" charset="-128"/>
              <a:cs typeface="Calibri"/>
            </a:endParaRPr>
          </a:p>
        </p:txBody>
      </p:sp>
      <p:sp>
        <p:nvSpPr>
          <p:cNvPr id="8" name="Rectangle 47">
            <a:extLst>
              <a:ext uri="{FF2B5EF4-FFF2-40B4-BE49-F238E27FC236}">
                <a16:creationId xmlns:a16="http://schemas.microsoft.com/office/drawing/2014/main" id="{AFB80F26-CD26-23CB-9075-D80E7F12E631}"/>
              </a:ext>
            </a:extLst>
          </p:cNvPr>
          <p:cNvSpPr>
            <a:spLocks noChangeArrowheads="1"/>
          </p:cNvSpPr>
          <p:nvPr/>
        </p:nvSpPr>
        <p:spPr bwMode="auto">
          <a:xfrm>
            <a:off x="7113202" y="4699586"/>
            <a:ext cx="235716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srgbClr val="00B050"/>
                </a:solidFill>
                <a:latin typeface="Calibri"/>
                <a:ea typeface="MS PGothic"/>
              </a:rPr>
              <a:t>Create transition education curriculum based on age, readiness</a:t>
            </a:r>
            <a:endParaRPr kumimoji="0" lang="en-US" sz="1400" b="1" i="0" u="none" strike="noStrike" kern="1200" cap="none" spc="0" normalizeH="0" baseline="0" noProof="0" dirty="0">
              <a:ln>
                <a:noFill/>
              </a:ln>
              <a:solidFill>
                <a:srgbClr val="00B050"/>
              </a:solidFill>
              <a:effectLst/>
              <a:uLnTx/>
              <a:uFillTx/>
              <a:latin typeface="Calibri"/>
              <a:ea typeface="MS PGothic" panose="020B0600070205080204" pitchFamily="34" charset="-128"/>
              <a:cs typeface="+mn-cs"/>
            </a:endParaRPr>
          </a:p>
        </p:txBody>
      </p:sp>
      <p:sp>
        <p:nvSpPr>
          <p:cNvPr id="9" name="Rectangle 47">
            <a:extLst>
              <a:ext uri="{FF2B5EF4-FFF2-40B4-BE49-F238E27FC236}">
                <a16:creationId xmlns:a16="http://schemas.microsoft.com/office/drawing/2014/main" id="{7B3F6949-F583-F1E4-935F-6E9B991971AF}"/>
              </a:ext>
            </a:extLst>
          </p:cNvPr>
          <p:cNvSpPr>
            <a:spLocks noChangeArrowheads="1"/>
          </p:cNvSpPr>
          <p:nvPr/>
        </p:nvSpPr>
        <p:spPr bwMode="auto">
          <a:xfrm>
            <a:off x="7649590" y="3988094"/>
            <a:ext cx="235716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srgbClr val="00B050"/>
                </a:solidFill>
                <a:latin typeface="Calibri"/>
                <a:ea typeface="MS PGothic"/>
              </a:rPr>
              <a:t>Create adult endocrinologist provider list</a:t>
            </a:r>
            <a:endParaRPr lang="en-US" sz="1400" b="1" i="0" u="none" strike="noStrike" kern="1200" cap="none" spc="0" normalizeH="0" baseline="0" noProof="0" dirty="0">
              <a:ln>
                <a:noFill/>
              </a:ln>
              <a:solidFill>
                <a:srgbClr val="00B050"/>
              </a:solidFill>
              <a:effectLst/>
              <a:uLnTx/>
              <a:uFillTx/>
              <a:latin typeface="Calibri"/>
              <a:ea typeface="MS PGothic" panose="020B0600070205080204" pitchFamily="34" charset="-128"/>
              <a:cs typeface="Calibri"/>
            </a:endParaRPr>
          </a:p>
        </p:txBody>
      </p:sp>
      <p:sp>
        <p:nvSpPr>
          <p:cNvPr id="10" name="Rectangle 47">
            <a:extLst>
              <a:ext uri="{FF2B5EF4-FFF2-40B4-BE49-F238E27FC236}">
                <a16:creationId xmlns:a16="http://schemas.microsoft.com/office/drawing/2014/main" id="{F4E2BF8B-2439-C9FC-6673-D0921053F7B6}"/>
              </a:ext>
            </a:extLst>
          </p:cNvPr>
          <p:cNvSpPr>
            <a:spLocks noChangeArrowheads="1"/>
          </p:cNvSpPr>
          <p:nvPr/>
        </p:nvSpPr>
        <p:spPr bwMode="auto">
          <a:xfrm>
            <a:off x="3522976" y="3764056"/>
            <a:ext cx="235716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srgbClr val="00B050"/>
                </a:solidFill>
                <a:latin typeface="Calibri"/>
                <a:ea typeface="MS PGothic"/>
              </a:rPr>
              <a:t>EPIC build- need to be specific- flowsheet, provider flow sheet</a:t>
            </a:r>
            <a:endParaRPr lang="en-US" sz="1400" b="1" i="0" u="none" strike="noStrike" kern="1200" cap="none" spc="0" normalizeH="0" baseline="0" noProof="0" dirty="0">
              <a:ln>
                <a:noFill/>
              </a:ln>
              <a:solidFill>
                <a:srgbClr val="00B050"/>
              </a:solidFill>
              <a:effectLst/>
              <a:uLnTx/>
              <a:uFillTx/>
              <a:latin typeface="Calibri"/>
              <a:ea typeface="MS PGothic" panose="020B0600070205080204" pitchFamily="34" charset="-128"/>
              <a:cs typeface="Calibri"/>
            </a:endParaRPr>
          </a:p>
        </p:txBody>
      </p:sp>
      <p:sp>
        <p:nvSpPr>
          <p:cNvPr id="14" name="Rectangle 47">
            <a:extLst>
              <a:ext uri="{FF2B5EF4-FFF2-40B4-BE49-F238E27FC236}">
                <a16:creationId xmlns:a16="http://schemas.microsoft.com/office/drawing/2014/main" id="{B1B4D7A4-2AA2-7CFF-AE21-73250AE006D3}"/>
              </a:ext>
            </a:extLst>
          </p:cNvPr>
          <p:cNvSpPr>
            <a:spLocks noChangeArrowheads="1"/>
          </p:cNvSpPr>
          <p:nvPr/>
        </p:nvSpPr>
        <p:spPr bwMode="auto">
          <a:xfrm>
            <a:off x="3048835" y="4783901"/>
            <a:ext cx="2119038"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srgbClr val="00B050"/>
                </a:solidFill>
                <a:latin typeface="Calibri"/>
                <a:ea typeface="MS PGothic"/>
              </a:rPr>
              <a:t>Date of transition added to provider flowsheet- Clinic CPT</a:t>
            </a:r>
            <a:endParaRPr lang="en-US" sz="1400" b="1" i="0" u="none" strike="noStrike" kern="1200" cap="none" spc="0" normalizeH="0" baseline="0" noProof="0" dirty="0" err="1">
              <a:ln>
                <a:noFill/>
              </a:ln>
              <a:solidFill>
                <a:srgbClr val="00B050"/>
              </a:solidFill>
              <a:effectLst/>
              <a:uLnTx/>
              <a:uFillTx/>
              <a:latin typeface="Calibri"/>
              <a:ea typeface="MS PGothic" panose="020B0600070205080204" pitchFamily="34" charset="-128"/>
              <a:cs typeface="Calibri"/>
            </a:endParaRPr>
          </a:p>
        </p:txBody>
      </p:sp>
      <p:sp>
        <p:nvSpPr>
          <p:cNvPr id="17" name="Rectangle 47">
            <a:extLst>
              <a:ext uri="{FF2B5EF4-FFF2-40B4-BE49-F238E27FC236}">
                <a16:creationId xmlns:a16="http://schemas.microsoft.com/office/drawing/2014/main" id="{AD0A96A6-3B0C-4DED-776B-D18E0C145A47}"/>
              </a:ext>
            </a:extLst>
          </p:cNvPr>
          <p:cNvSpPr>
            <a:spLocks noChangeArrowheads="1"/>
          </p:cNvSpPr>
          <p:nvPr/>
        </p:nvSpPr>
        <p:spPr bwMode="auto">
          <a:xfrm>
            <a:off x="6905586" y="1173633"/>
            <a:ext cx="222381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srgbClr val="00B050"/>
                </a:solidFill>
                <a:latin typeface="Calibri"/>
                <a:ea typeface="MS PGothic"/>
              </a:rPr>
              <a:t>Transition policy, provider discussing transition topic</a:t>
            </a:r>
            <a:endParaRPr lang="en-US" sz="1400" b="1" i="0" u="none" strike="noStrike" kern="1200" cap="none" spc="0" normalizeH="0" baseline="0" noProof="0" dirty="0">
              <a:ln>
                <a:noFill/>
              </a:ln>
              <a:solidFill>
                <a:srgbClr val="00B050"/>
              </a:solidFill>
              <a:effectLst/>
              <a:uLnTx/>
              <a:uFillTx/>
              <a:latin typeface="Calibri"/>
              <a:ea typeface="MS PGothic" panose="020B0600070205080204" pitchFamily="34" charset="-128"/>
              <a:cs typeface="Calibri"/>
            </a:endParaRPr>
          </a:p>
        </p:txBody>
      </p:sp>
      <p:sp>
        <p:nvSpPr>
          <p:cNvPr id="18" name="Rectangle 47">
            <a:extLst>
              <a:ext uri="{FF2B5EF4-FFF2-40B4-BE49-F238E27FC236}">
                <a16:creationId xmlns:a16="http://schemas.microsoft.com/office/drawing/2014/main" id="{C71561A8-E5F9-A091-F4A9-5F29963AAB57}"/>
              </a:ext>
            </a:extLst>
          </p:cNvPr>
          <p:cNvSpPr>
            <a:spLocks noChangeArrowheads="1"/>
          </p:cNvSpPr>
          <p:nvPr/>
        </p:nvSpPr>
        <p:spPr bwMode="auto">
          <a:xfrm>
            <a:off x="7534235" y="2633930"/>
            <a:ext cx="235716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1">
            <a:spAutoFit/>
          </a:bodyPr>
          <a:lstStyle/>
          <a:p>
            <a:pPr algn="ctr" fontAlgn="base">
              <a:spcBef>
                <a:spcPct val="0"/>
              </a:spcBef>
              <a:spcAft>
                <a:spcPct val="0"/>
              </a:spcAft>
              <a:defRPr/>
            </a:pPr>
            <a:r>
              <a:rPr lang="en-US" sz="1400" b="1" dirty="0">
                <a:solidFill>
                  <a:srgbClr val="00B050"/>
                </a:solidFill>
                <a:latin typeface="Calibri"/>
                <a:ea typeface="MS PGothic"/>
              </a:rPr>
              <a:t>Create transition education curriculum with roles</a:t>
            </a:r>
            <a:endParaRPr kumimoji="0" lang="en-US" sz="1400" b="1" i="0" u="none" strike="noStrike" kern="1200" cap="none" spc="0" normalizeH="0" baseline="0" noProof="0" dirty="0">
              <a:ln>
                <a:noFill/>
              </a:ln>
              <a:solidFill>
                <a:srgbClr val="00B050"/>
              </a:solidFill>
              <a:effectLst/>
              <a:uLnTx/>
              <a:uFillTx/>
              <a:latin typeface="Calibri"/>
              <a:ea typeface="MS PGothic" panose="020B0600070205080204" pitchFamily="34" charset="-128"/>
              <a:cs typeface="+mn-cs"/>
            </a:endParaRPr>
          </a:p>
        </p:txBody>
      </p:sp>
      <p:sp>
        <p:nvSpPr>
          <p:cNvPr id="19" name="TextBox 18">
            <a:extLst>
              <a:ext uri="{FF2B5EF4-FFF2-40B4-BE49-F238E27FC236}">
                <a16:creationId xmlns:a16="http://schemas.microsoft.com/office/drawing/2014/main" id="{89644241-D073-F0C7-32E8-17065DEA5740}"/>
              </a:ext>
            </a:extLst>
          </p:cNvPr>
          <p:cNvSpPr txBox="1"/>
          <p:nvPr/>
        </p:nvSpPr>
        <p:spPr>
          <a:xfrm>
            <a:off x="10079565" y="2658532"/>
            <a:ext cx="1779058" cy="1200329"/>
          </a:xfrm>
          <a:prstGeom prst="rect">
            <a:avLst/>
          </a:prstGeom>
          <a:solidFill>
            <a:schemeClr val="tx2">
              <a:lumMod val="50000"/>
              <a:lumOff val="50000"/>
            </a:schemeClr>
          </a:solidFill>
          <a:ln w="285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t>What obstructs  transition planning?</a:t>
            </a:r>
            <a:endParaRPr lang="en-US"/>
          </a:p>
        </p:txBody>
      </p:sp>
      <p:sp>
        <p:nvSpPr>
          <p:cNvPr id="2" name="TextBox 1">
            <a:extLst>
              <a:ext uri="{FF2B5EF4-FFF2-40B4-BE49-F238E27FC236}">
                <a16:creationId xmlns:a16="http://schemas.microsoft.com/office/drawing/2014/main" id="{5C4C9780-A3A1-9F26-162D-F7A618E1640A}"/>
              </a:ext>
            </a:extLst>
          </p:cNvPr>
          <p:cNvSpPr txBox="1"/>
          <p:nvPr/>
        </p:nvSpPr>
        <p:spPr>
          <a:xfrm>
            <a:off x="1169095" y="1409178"/>
            <a:ext cx="1471808" cy="720246"/>
          </a:xfrm>
          <a:prstGeom prst="rect">
            <a:avLst/>
          </a:prstGeom>
          <a:noFill/>
          <a:ln w="28575">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3" name="TextBox 2">
            <a:extLst>
              <a:ext uri="{FF2B5EF4-FFF2-40B4-BE49-F238E27FC236}">
                <a16:creationId xmlns:a16="http://schemas.microsoft.com/office/drawing/2014/main" id="{74D05929-0A21-D51D-EF29-BACCB2DF99D7}"/>
              </a:ext>
            </a:extLst>
          </p:cNvPr>
          <p:cNvSpPr txBox="1"/>
          <p:nvPr/>
        </p:nvSpPr>
        <p:spPr>
          <a:xfrm>
            <a:off x="1169095" y="3666241"/>
            <a:ext cx="2243453" cy="729891"/>
          </a:xfrm>
          <a:prstGeom prst="rect">
            <a:avLst/>
          </a:prstGeom>
          <a:noFill/>
          <a:ln w="28575">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6" name="TextBox 15">
            <a:extLst>
              <a:ext uri="{FF2B5EF4-FFF2-40B4-BE49-F238E27FC236}">
                <a16:creationId xmlns:a16="http://schemas.microsoft.com/office/drawing/2014/main" id="{F3EEF57C-44D0-1CE8-AC9D-6E9AACD340D1}"/>
              </a:ext>
            </a:extLst>
          </p:cNvPr>
          <p:cNvSpPr txBox="1"/>
          <p:nvPr/>
        </p:nvSpPr>
        <p:spPr>
          <a:xfrm>
            <a:off x="5162360" y="1823937"/>
            <a:ext cx="1876922" cy="739537"/>
          </a:xfrm>
          <a:prstGeom prst="rect">
            <a:avLst/>
          </a:prstGeom>
          <a:noFill/>
          <a:ln w="28575">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24" name="TextBox 23">
            <a:extLst>
              <a:ext uri="{FF2B5EF4-FFF2-40B4-BE49-F238E27FC236}">
                <a16:creationId xmlns:a16="http://schemas.microsoft.com/office/drawing/2014/main" id="{BF3D0591-9DD3-50B3-2AD0-3543327D7B4C}"/>
              </a:ext>
            </a:extLst>
          </p:cNvPr>
          <p:cNvSpPr txBox="1"/>
          <p:nvPr/>
        </p:nvSpPr>
        <p:spPr>
          <a:xfrm>
            <a:off x="5316689" y="4515051"/>
            <a:ext cx="1587555" cy="855283"/>
          </a:xfrm>
          <a:prstGeom prst="rect">
            <a:avLst/>
          </a:prstGeom>
          <a:noFill/>
          <a:ln w="28575">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25" name="TextBox 24">
            <a:extLst>
              <a:ext uri="{FF2B5EF4-FFF2-40B4-BE49-F238E27FC236}">
                <a16:creationId xmlns:a16="http://schemas.microsoft.com/office/drawing/2014/main" id="{C02F5D6A-468D-2C68-C082-923BBDAAD6B1}"/>
              </a:ext>
            </a:extLst>
          </p:cNvPr>
          <p:cNvSpPr txBox="1"/>
          <p:nvPr/>
        </p:nvSpPr>
        <p:spPr>
          <a:xfrm>
            <a:off x="6011168" y="3849507"/>
            <a:ext cx="1278899" cy="556271"/>
          </a:xfrm>
          <a:prstGeom prst="rect">
            <a:avLst/>
          </a:prstGeom>
          <a:noFill/>
          <a:ln w="28575">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3552659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1A72A-1B49-EC40-1966-1184D68CDC46}"/>
              </a:ext>
            </a:extLst>
          </p:cNvPr>
          <p:cNvSpPr txBox="1">
            <a:spLocks/>
          </p:cNvSpPr>
          <p:nvPr/>
        </p:nvSpPr>
        <p:spPr>
          <a:xfrm>
            <a:off x="575736" y="777678"/>
            <a:ext cx="11040533" cy="50045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en-US" sz="3600" kern="1200" dirty="0">
                <a:solidFill>
                  <a:schemeClr val="bg2"/>
                </a:solidFill>
                <a:latin typeface="+mj-lt"/>
                <a:ea typeface="+mj-ea"/>
                <a:cs typeface="+mj-cs"/>
              </a:defRPr>
            </a:lvl1pPr>
          </a:lstStyle>
          <a:p>
            <a:r>
              <a:rPr lang="en-US" sz="3500" dirty="0">
                <a:solidFill>
                  <a:schemeClr val="tx1"/>
                </a:solidFill>
                <a:latin typeface="Calibri"/>
                <a:ea typeface="EB Garamond"/>
                <a:cs typeface="Calibri"/>
              </a:rPr>
              <a:t>SMART Aim</a:t>
            </a:r>
          </a:p>
        </p:txBody>
      </p:sp>
      <p:sp>
        <p:nvSpPr>
          <p:cNvPr id="3" name="Rectangle 2">
            <a:extLst>
              <a:ext uri="{FF2B5EF4-FFF2-40B4-BE49-F238E27FC236}">
                <a16:creationId xmlns:a16="http://schemas.microsoft.com/office/drawing/2014/main" id="{90E92FA1-1B7B-C213-AF92-A5A4CB2C509A}"/>
              </a:ext>
            </a:extLst>
          </p:cNvPr>
          <p:cNvSpPr/>
          <p:nvPr/>
        </p:nvSpPr>
        <p:spPr>
          <a:xfrm>
            <a:off x="951979" y="1604376"/>
            <a:ext cx="9181576" cy="396239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500" dirty="0">
                <a:solidFill>
                  <a:schemeClr val="tx1"/>
                </a:solidFill>
                <a:latin typeface="Calibri"/>
                <a:ea typeface="+mn-lt"/>
                <a:cs typeface="Times New Roman"/>
              </a:rPr>
              <a:t>Develop a transition roadmap and increase the rate of older adolescents (age </a:t>
            </a:r>
            <a:r>
              <a:rPr lang="en-US" sz="2500" u="sng" dirty="0">
                <a:solidFill>
                  <a:schemeClr val="tx1"/>
                </a:solidFill>
                <a:latin typeface="Calibri"/>
                <a:ea typeface="+mn-lt"/>
                <a:cs typeface="Times New Roman"/>
              </a:rPr>
              <a:t>&gt;</a:t>
            </a:r>
            <a:r>
              <a:rPr lang="en-US" sz="2500" dirty="0">
                <a:solidFill>
                  <a:schemeClr val="tx1"/>
                </a:solidFill>
                <a:latin typeface="Calibri"/>
                <a:ea typeface="+mn-lt"/>
                <a:cs typeface="Times New Roman"/>
              </a:rPr>
              <a:t>16) with a documented transition plan by 30% over a 1.5-year period from a </a:t>
            </a:r>
            <a:r>
              <a:rPr lang="en-US" sz="2500" dirty="0">
                <a:solidFill>
                  <a:schemeClr val="accent5"/>
                </a:solidFill>
                <a:latin typeface="Calibri"/>
                <a:ea typeface="+mn-lt"/>
                <a:cs typeface="Times New Roman"/>
              </a:rPr>
              <a:t>baseline of 20% in November 2023 to &gt;50% by June 2025</a:t>
            </a:r>
            <a:r>
              <a:rPr lang="en-US" sz="2500" dirty="0">
                <a:solidFill>
                  <a:schemeClr val="tx1"/>
                </a:solidFill>
                <a:latin typeface="Calibri"/>
                <a:ea typeface="+mn-lt"/>
                <a:cs typeface="Times New Roman"/>
              </a:rPr>
              <a:t>. </a:t>
            </a:r>
            <a:endParaRPr lang="en-US" sz="2500" dirty="0">
              <a:solidFill>
                <a:schemeClr val="tx1"/>
              </a:solidFill>
              <a:latin typeface="Calibri"/>
              <a:ea typeface="Noto Sans"/>
              <a:cs typeface="Times New Roman"/>
            </a:endParaRPr>
          </a:p>
        </p:txBody>
      </p:sp>
      <p:pic>
        <p:nvPicPr>
          <p:cNvPr id="4" name="Graphic 3" descr="Bullseye with solid fill">
            <a:extLst>
              <a:ext uri="{FF2B5EF4-FFF2-40B4-BE49-F238E27FC236}">
                <a16:creationId xmlns:a16="http://schemas.microsoft.com/office/drawing/2014/main" id="{B6FA2675-487F-3451-5317-507F61125526}"/>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3050088" y="570456"/>
            <a:ext cx="914400" cy="914400"/>
          </a:xfrm>
          <a:prstGeom prst="rect">
            <a:avLst/>
          </a:prstGeom>
        </p:spPr>
      </p:pic>
    </p:spTree>
    <p:extLst>
      <p:ext uri="{BB962C8B-B14F-4D97-AF65-F5344CB8AC3E}">
        <p14:creationId xmlns:p14="http://schemas.microsoft.com/office/powerpoint/2010/main" val="29310719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9A597-5EF7-FA28-8618-01FD4CC97155}"/>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022C887A-435A-635B-A288-3307CA429EDB}"/>
              </a:ext>
            </a:extLst>
          </p:cNvPr>
          <p:cNvSpPr txBox="1">
            <a:spLocks/>
          </p:cNvSpPr>
          <p:nvPr/>
        </p:nvSpPr>
        <p:spPr>
          <a:xfrm>
            <a:off x="641030" y="97595"/>
            <a:ext cx="9624484" cy="465155"/>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500" dirty="0">
                <a:latin typeface="Calibri"/>
                <a:ea typeface="Calibri"/>
                <a:cs typeface="Calibri"/>
              </a:rPr>
              <a:t>PDSA Cycles</a:t>
            </a:r>
            <a:endParaRPr lang="en-US"/>
          </a:p>
        </p:txBody>
      </p:sp>
      <p:pic>
        <p:nvPicPr>
          <p:cNvPr id="172" name="Picture 171" descr="A white and black text on a white background&#10;&#10;Description automatically generated">
            <a:extLst>
              <a:ext uri="{FF2B5EF4-FFF2-40B4-BE49-F238E27FC236}">
                <a16:creationId xmlns:a16="http://schemas.microsoft.com/office/drawing/2014/main" id="{9CA66E4B-01CC-85C4-0458-7DA994B4E17E}"/>
              </a:ext>
            </a:extLst>
          </p:cNvPr>
          <p:cNvPicPr>
            <a:picLocks noChangeAspect="1"/>
          </p:cNvPicPr>
          <p:nvPr/>
        </p:nvPicPr>
        <p:blipFill>
          <a:blip r:embed="rId2" cstate="print"/>
          <a:stretch>
            <a:fillRect/>
          </a:stretch>
        </p:blipFill>
        <p:spPr>
          <a:xfrm>
            <a:off x="7115406" y="483637"/>
            <a:ext cx="4931472" cy="5540528"/>
          </a:xfrm>
          <a:prstGeom prst="rect">
            <a:avLst/>
          </a:prstGeom>
        </p:spPr>
      </p:pic>
      <p:pic>
        <p:nvPicPr>
          <p:cNvPr id="190" name="Picture 189" descr="A screenshot of a medical survey&#10;&#10;AI-generated content may be incorrect.">
            <a:extLst>
              <a:ext uri="{FF2B5EF4-FFF2-40B4-BE49-F238E27FC236}">
                <a16:creationId xmlns:a16="http://schemas.microsoft.com/office/drawing/2014/main" id="{499D04BF-D91A-8F84-8273-35112767BB84}"/>
              </a:ext>
            </a:extLst>
          </p:cNvPr>
          <p:cNvPicPr>
            <a:picLocks noChangeAspect="1"/>
          </p:cNvPicPr>
          <p:nvPr/>
        </p:nvPicPr>
        <p:blipFill>
          <a:blip r:embed="rId3" cstate="print"/>
          <a:srcRect l="143" t="55886" r="-143" b="-188"/>
          <a:stretch>
            <a:fillRect/>
          </a:stretch>
        </p:blipFill>
        <p:spPr>
          <a:xfrm>
            <a:off x="293493" y="2782777"/>
            <a:ext cx="6568507" cy="3553613"/>
          </a:xfrm>
          <a:prstGeom prst="rect">
            <a:avLst/>
          </a:prstGeom>
        </p:spPr>
      </p:pic>
      <p:sp>
        <p:nvSpPr>
          <p:cNvPr id="192" name="TextBox 191">
            <a:extLst>
              <a:ext uri="{FF2B5EF4-FFF2-40B4-BE49-F238E27FC236}">
                <a16:creationId xmlns:a16="http://schemas.microsoft.com/office/drawing/2014/main" id="{13C0C7B5-EF9D-057D-7B36-41F8BF6B8C1D}"/>
              </a:ext>
            </a:extLst>
          </p:cNvPr>
          <p:cNvSpPr txBox="1"/>
          <p:nvPr/>
        </p:nvSpPr>
        <p:spPr>
          <a:xfrm>
            <a:off x="293493" y="2851293"/>
            <a:ext cx="6562275" cy="2060083"/>
          </a:xfrm>
          <a:prstGeom prst="rect">
            <a:avLst/>
          </a:prstGeom>
          <a:noFill/>
          <a:ln w="28575">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graphicFrame>
        <p:nvGraphicFramePr>
          <p:cNvPr id="272" name="Content Placeholder 10">
            <a:extLst>
              <a:ext uri="{FF2B5EF4-FFF2-40B4-BE49-F238E27FC236}">
                <a16:creationId xmlns:a16="http://schemas.microsoft.com/office/drawing/2014/main" id="{87462BAC-D99B-1580-2E0E-8736AFE4A26E}"/>
              </a:ext>
            </a:extLst>
          </p:cNvPr>
          <p:cNvGraphicFramePr/>
          <p:nvPr/>
        </p:nvGraphicFramePr>
        <p:xfrm>
          <a:off x="218129" y="60076"/>
          <a:ext cx="6895878" cy="32005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126724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2">
                                            <p:graphicEl>
                                              <a:dgm id="{8B739627-4C0F-4FF3-B5B2-8662ED1FCF95}"/>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2">
                                            <p:graphicEl>
                                              <a:dgm id="{A1BFD19E-013F-425F-9E1D-B8D9E2D547D4}"/>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2">
                                            <p:graphicEl>
                                              <a:dgm id="{55B948EC-5D29-469C-90DD-A346A63BEB1F}"/>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72">
                                            <p:graphicEl>
                                              <a:dgm id="{57802E43-64E3-4E0A-8705-B64768B24FCD}"/>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2">
                                            <p:graphicEl>
                                              <a:dgm id="{2D152C46-05CA-4F0B-9FEE-E1D4734E2195}"/>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2">
                                            <p:graphicEl>
                                              <a:dgm id="{FBC96F52-3FAE-4931-A98C-8E44ADEE80AF}"/>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72" grpId="0">
        <p:bldSub>
          <a:bldDgm bld="one"/>
        </p:bldSub>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2130426"/>
            <a:ext cx="7772400" cy="1470025"/>
          </a:xfrm>
        </p:spPr>
        <p:txBody>
          <a:bodyPr anchor="b">
            <a:normAutofit/>
          </a:bodyPr>
          <a:lstStyle/>
          <a:p>
            <a:r>
              <a:rPr lang="en-US" sz="2600" b="1" dirty="0"/>
              <a:t>Implementation of an Electronic Medical Record Pediatric to Adult Healthcare Transition Planning Tool for Youth with Diabetes Mellitus</a:t>
            </a:r>
            <a:endParaRPr lang="en-US" sz="2600" dirty="0"/>
          </a:p>
        </p:txBody>
      </p:sp>
      <p:sp>
        <p:nvSpPr>
          <p:cNvPr id="3" name="Subtitle 2"/>
          <p:cNvSpPr>
            <a:spLocks noGrp="1"/>
          </p:cNvSpPr>
          <p:nvPr>
            <p:ph type="subTitle" idx="1"/>
          </p:nvPr>
        </p:nvSpPr>
        <p:spPr>
          <a:xfrm>
            <a:off x="2209800" y="3886200"/>
            <a:ext cx="7772400" cy="1371600"/>
          </a:xfrm>
        </p:spPr>
        <p:txBody>
          <a:bodyPr>
            <a:normAutofit/>
          </a:bodyPr>
          <a:lstStyle/>
          <a:p>
            <a:pPr>
              <a:lnSpc>
                <a:spcPct val="90000"/>
              </a:lnSpc>
            </a:pPr>
            <a:r>
              <a:rPr lang="en-US" sz="1600" dirty="0"/>
              <a:t>Mary Katherine Douthit, MD</a:t>
            </a:r>
            <a:r>
              <a:rPr lang="en-US" sz="1600" baseline="30000" dirty="0"/>
              <a:t>1</a:t>
            </a:r>
          </a:p>
          <a:p>
            <a:pPr>
              <a:lnSpc>
                <a:spcPct val="90000"/>
              </a:lnSpc>
            </a:pPr>
            <a:r>
              <a:rPr lang="en-US" sz="1600" dirty="0"/>
              <a:t>Kristina </a:t>
            </a:r>
            <a:r>
              <a:rPr lang="en-US" sz="1600" dirty="0" err="1"/>
              <a:t>Cossen</a:t>
            </a:r>
            <a:r>
              <a:rPr lang="en-US" sz="1600" dirty="0"/>
              <a:t>, MD</a:t>
            </a:r>
            <a:r>
              <a:rPr lang="en-US" sz="1600" baseline="30000" dirty="0"/>
              <a:t>1,2</a:t>
            </a:r>
          </a:p>
          <a:p>
            <a:pPr>
              <a:lnSpc>
                <a:spcPct val="90000"/>
              </a:lnSpc>
            </a:pPr>
            <a:r>
              <a:rPr lang="en-US" sz="1400" b="0" baseline="30000" dirty="0"/>
              <a:t>1</a:t>
            </a:r>
            <a:r>
              <a:rPr lang="en-US" sz="1400" b="0" dirty="0"/>
              <a:t>Children’s Healthcare of Atlanta, Division of Pediatric Endocrinology and Diabetes</a:t>
            </a:r>
            <a:endParaRPr lang="en-US" sz="1400" b="0" baseline="30000" dirty="0"/>
          </a:p>
          <a:p>
            <a:pPr>
              <a:lnSpc>
                <a:spcPct val="90000"/>
              </a:lnSpc>
            </a:pPr>
            <a:r>
              <a:rPr lang="en-US" sz="1400" b="0" baseline="30000" dirty="0"/>
              <a:t>2</a:t>
            </a:r>
            <a:r>
              <a:rPr lang="en-US" sz="1400" b="0" dirty="0"/>
              <a:t>Emory University School of Medicine, Department of Pediatrics, Division of Pediatric Endocrinology and Diabetes</a:t>
            </a:r>
          </a:p>
        </p:txBody>
      </p:sp>
    </p:spTree>
    <p:extLst>
      <p:ext uri="{BB962C8B-B14F-4D97-AF65-F5344CB8AC3E}">
        <p14:creationId xmlns:p14="http://schemas.microsoft.com/office/powerpoint/2010/main" val="3142096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87621-8E8F-D2A2-A553-FEFC94CFA09D}"/>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7B68EC8E-3242-2587-18AC-E413B71775B4}"/>
              </a:ext>
            </a:extLst>
          </p:cNvPr>
          <p:cNvSpPr txBox="1">
            <a:spLocks/>
          </p:cNvSpPr>
          <p:nvPr/>
        </p:nvSpPr>
        <p:spPr>
          <a:xfrm>
            <a:off x="723152" y="2345"/>
            <a:ext cx="9735273" cy="67213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500" dirty="0">
                <a:latin typeface="Calibri"/>
                <a:ea typeface="Calibri"/>
                <a:cs typeface="Calibri"/>
              </a:rPr>
              <a:t>Roadmap to Transition</a:t>
            </a:r>
            <a:endParaRPr lang="en-US"/>
          </a:p>
        </p:txBody>
      </p:sp>
      <p:pic>
        <p:nvPicPr>
          <p:cNvPr id="2" name="Picture 1" descr="A chart with text overlay&#10;&#10;AI-generated content may be incorrect.">
            <a:extLst>
              <a:ext uri="{FF2B5EF4-FFF2-40B4-BE49-F238E27FC236}">
                <a16:creationId xmlns:a16="http://schemas.microsoft.com/office/drawing/2014/main" id="{966EB448-E5EF-82CB-531F-110BACE7BED7}"/>
              </a:ext>
            </a:extLst>
          </p:cNvPr>
          <p:cNvPicPr>
            <a:picLocks noChangeAspect="1"/>
          </p:cNvPicPr>
          <p:nvPr/>
        </p:nvPicPr>
        <p:blipFill>
          <a:blip r:embed="rId2" cstate="print"/>
          <a:stretch>
            <a:fillRect/>
          </a:stretch>
        </p:blipFill>
        <p:spPr>
          <a:xfrm>
            <a:off x="122546" y="3044260"/>
            <a:ext cx="3966315" cy="3566138"/>
          </a:xfrm>
          <a:prstGeom prst="rect">
            <a:avLst/>
          </a:prstGeom>
        </p:spPr>
      </p:pic>
      <p:pic>
        <p:nvPicPr>
          <p:cNvPr id="3" name="Picture 2" descr="A poster of a blood sugar test&#10;&#10;AI-generated content may be incorrect.">
            <a:extLst>
              <a:ext uri="{FF2B5EF4-FFF2-40B4-BE49-F238E27FC236}">
                <a16:creationId xmlns:a16="http://schemas.microsoft.com/office/drawing/2014/main" id="{11D9DC7F-26A3-6AC7-BF73-433553392795}"/>
              </a:ext>
            </a:extLst>
          </p:cNvPr>
          <p:cNvPicPr>
            <a:picLocks noChangeAspect="1"/>
          </p:cNvPicPr>
          <p:nvPr/>
        </p:nvPicPr>
        <p:blipFill>
          <a:blip r:embed="rId3" cstate="print"/>
          <a:stretch>
            <a:fillRect/>
          </a:stretch>
        </p:blipFill>
        <p:spPr>
          <a:xfrm>
            <a:off x="4159251" y="3491503"/>
            <a:ext cx="1808821" cy="2529266"/>
          </a:xfrm>
          <a:prstGeom prst="rect">
            <a:avLst/>
          </a:prstGeom>
        </p:spPr>
      </p:pic>
      <p:pic>
        <p:nvPicPr>
          <p:cNvPr id="4" name="Picture 3" descr="A poster with text and images&#10;&#10;Description automatically generated">
            <a:extLst>
              <a:ext uri="{FF2B5EF4-FFF2-40B4-BE49-F238E27FC236}">
                <a16:creationId xmlns:a16="http://schemas.microsoft.com/office/drawing/2014/main" id="{EDE3C11A-1AC1-A99B-15DF-2462C6DA7A59}"/>
              </a:ext>
            </a:extLst>
          </p:cNvPr>
          <p:cNvPicPr>
            <a:picLocks noChangeAspect="1"/>
          </p:cNvPicPr>
          <p:nvPr/>
        </p:nvPicPr>
        <p:blipFill>
          <a:blip r:embed="rId4" cstate="print"/>
          <a:stretch>
            <a:fillRect/>
          </a:stretch>
        </p:blipFill>
        <p:spPr>
          <a:xfrm>
            <a:off x="5907111" y="4096682"/>
            <a:ext cx="1795939" cy="2521466"/>
          </a:xfrm>
          <a:prstGeom prst="rect">
            <a:avLst/>
          </a:prstGeom>
        </p:spPr>
      </p:pic>
      <p:pic>
        <p:nvPicPr>
          <p:cNvPr id="5" name="Picture 4" descr="A poster of a diabetes prevention&#10;&#10;Description automatically generated with medium confidence">
            <a:extLst>
              <a:ext uri="{FF2B5EF4-FFF2-40B4-BE49-F238E27FC236}">
                <a16:creationId xmlns:a16="http://schemas.microsoft.com/office/drawing/2014/main" id="{4EEC1BB0-F06E-CAC7-ACD8-37F602333DB6}"/>
              </a:ext>
            </a:extLst>
          </p:cNvPr>
          <p:cNvPicPr>
            <a:picLocks noChangeAspect="1"/>
          </p:cNvPicPr>
          <p:nvPr/>
        </p:nvPicPr>
        <p:blipFill>
          <a:blip r:embed="rId5" cstate="print"/>
          <a:stretch>
            <a:fillRect/>
          </a:stretch>
        </p:blipFill>
        <p:spPr>
          <a:xfrm>
            <a:off x="7619074" y="3429000"/>
            <a:ext cx="1805016" cy="2521465"/>
          </a:xfrm>
          <a:prstGeom prst="rect">
            <a:avLst/>
          </a:prstGeom>
        </p:spPr>
      </p:pic>
      <p:pic>
        <p:nvPicPr>
          <p:cNvPr id="6" name="Picture 5" descr="A person looking at a doctor&#10;&#10;Description automatically generated with medium confidence">
            <a:extLst>
              <a:ext uri="{FF2B5EF4-FFF2-40B4-BE49-F238E27FC236}">
                <a16:creationId xmlns:a16="http://schemas.microsoft.com/office/drawing/2014/main" id="{4EC9AE40-71BA-D7B3-D530-B56053D124E9}"/>
              </a:ext>
            </a:extLst>
          </p:cNvPr>
          <p:cNvPicPr>
            <a:picLocks noChangeAspect="1"/>
          </p:cNvPicPr>
          <p:nvPr/>
        </p:nvPicPr>
        <p:blipFill>
          <a:blip r:embed="rId6" cstate="print"/>
          <a:stretch>
            <a:fillRect/>
          </a:stretch>
        </p:blipFill>
        <p:spPr>
          <a:xfrm>
            <a:off x="9451251" y="3613442"/>
            <a:ext cx="2599010" cy="1599305"/>
          </a:xfrm>
          <a:prstGeom prst="rect">
            <a:avLst/>
          </a:prstGeom>
        </p:spPr>
      </p:pic>
      <p:pic>
        <p:nvPicPr>
          <p:cNvPr id="7" name="Picture 6" descr="A close-up of a medical brochure&#10;&#10;Description automatically generated">
            <a:extLst>
              <a:ext uri="{FF2B5EF4-FFF2-40B4-BE49-F238E27FC236}">
                <a16:creationId xmlns:a16="http://schemas.microsoft.com/office/drawing/2014/main" id="{AB07E0CC-8CE7-CE5E-12A6-171578D12ADC}"/>
              </a:ext>
            </a:extLst>
          </p:cNvPr>
          <p:cNvPicPr>
            <a:picLocks noChangeAspect="1"/>
          </p:cNvPicPr>
          <p:nvPr/>
        </p:nvPicPr>
        <p:blipFill>
          <a:blip r:embed="rId7" cstate="print"/>
          <a:stretch>
            <a:fillRect/>
          </a:stretch>
        </p:blipFill>
        <p:spPr>
          <a:xfrm>
            <a:off x="9464614" y="5221116"/>
            <a:ext cx="2585647" cy="1599305"/>
          </a:xfrm>
          <a:prstGeom prst="rect">
            <a:avLst/>
          </a:prstGeom>
        </p:spPr>
      </p:pic>
      <p:sp>
        <p:nvSpPr>
          <p:cNvPr id="8" name="Rectangle 7">
            <a:extLst>
              <a:ext uri="{FF2B5EF4-FFF2-40B4-BE49-F238E27FC236}">
                <a16:creationId xmlns:a16="http://schemas.microsoft.com/office/drawing/2014/main" id="{3ED347C2-C801-B363-F421-37C1260B349A}"/>
              </a:ext>
            </a:extLst>
          </p:cNvPr>
          <p:cNvSpPr/>
          <p:nvPr/>
        </p:nvSpPr>
        <p:spPr>
          <a:xfrm>
            <a:off x="381997" y="4691588"/>
            <a:ext cx="3438731" cy="187115"/>
          </a:xfrm>
          <a:prstGeom prst="rect">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fontAlgn="base" latinLnBrk="0" hangingPunct="1">
              <a:spcBef>
                <a:spcPct val="50000"/>
              </a:spcBef>
              <a:spcAft>
                <a:spcPct val="0"/>
              </a:spcAft>
              <a:buClr>
                <a:schemeClr val="tx1"/>
              </a:buClr>
              <a:defRPr sz="1800" kern="1200">
                <a:solidFill>
                  <a:schemeClr val="lt1"/>
                </a:solidFill>
                <a:latin typeface="+mn-lt"/>
                <a:ea typeface="+mn-ea"/>
                <a:cs typeface="+mn-cs"/>
              </a:defRPr>
            </a:lvl1pPr>
            <a:lvl2pPr marL="457200" algn="l" defTabSz="914400" rtl="0" eaLnBrk="1" fontAlgn="base" latinLnBrk="0" hangingPunct="1">
              <a:spcBef>
                <a:spcPct val="50000"/>
              </a:spcBef>
              <a:spcAft>
                <a:spcPct val="0"/>
              </a:spcAft>
              <a:buClr>
                <a:schemeClr val="tx1"/>
              </a:buClr>
              <a:defRPr sz="1800" kern="1200">
                <a:solidFill>
                  <a:schemeClr val="lt1"/>
                </a:solidFill>
                <a:latin typeface="+mn-lt"/>
                <a:ea typeface="+mn-ea"/>
                <a:cs typeface="+mn-cs"/>
              </a:defRPr>
            </a:lvl2pPr>
            <a:lvl3pPr marL="914400" algn="l" defTabSz="914400" rtl="0" eaLnBrk="1" fontAlgn="base" latinLnBrk="0" hangingPunct="1">
              <a:spcBef>
                <a:spcPct val="50000"/>
              </a:spcBef>
              <a:spcAft>
                <a:spcPct val="0"/>
              </a:spcAft>
              <a:buClr>
                <a:schemeClr val="tx1"/>
              </a:buClr>
              <a:defRPr sz="1800" kern="1200">
                <a:solidFill>
                  <a:schemeClr val="lt1"/>
                </a:solidFill>
                <a:latin typeface="+mn-lt"/>
                <a:ea typeface="+mn-ea"/>
                <a:cs typeface="+mn-cs"/>
              </a:defRPr>
            </a:lvl3pPr>
            <a:lvl4pPr marL="1371600" algn="l" defTabSz="914400" rtl="0" eaLnBrk="1" fontAlgn="base" latinLnBrk="0" hangingPunct="1">
              <a:spcBef>
                <a:spcPct val="50000"/>
              </a:spcBef>
              <a:spcAft>
                <a:spcPct val="0"/>
              </a:spcAft>
              <a:buClr>
                <a:schemeClr val="tx1"/>
              </a:buClr>
              <a:defRPr sz="1800" kern="1200">
                <a:solidFill>
                  <a:schemeClr val="lt1"/>
                </a:solidFill>
                <a:latin typeface="+mn-lt"/>
                <a:ea typeface="+mn-ea"/>
                <a:cs typeface="+mn-cs"/>
              </a:defRPr>
            </a:lvl4pPr>
            <a:lvl5pPr marL="1828800" algn="l" defTabSz="914400" rtl="0" eaLnBrk="1" fontAlgn="base" latinLnBrk="0" hangingPunct="1">
              <a:spcBef>
                <a:spcPct val="50000"/>
              </a:spcBef>
              <a:spcAft>
                <a:spcPct val="0"/>
              </a:spcAft>
              <a:buClr>
                <a:schemeClr val="tx1"/>
              </a:buClr>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aphicFrame>
        <p:nvGraphicFramePr>
          <p:cNvPr id="44" name="Content Placeholder 10">
            <a:extLst>
              <a:ext uri="{FF2B5EF4-FFF2-40B4-BE49-F238E27FC236}">
                <a16:creationId xmlns:a16="http://schemas.microsoft.com/office/drawing/2014/main" id="{1C9450F4-3D28-6993-20EE-B6FD9C424B26}"/>
              </a:ext>
            </a:extLst>
          </p:cNvPr>
          <p:cNvGraphicFramePr/>
          <p:nvPr/>
        </p:nvGraphicFramePr>
        <p:xfrm>
          <a:off x="554567" y="-134880"/>
          <a:ext cx="11075179" cy="384116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4163338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graphicEl>
                                              <a:dgm id="{8B739627-4C0F-4FF3-B5B2-8662ED1FCF95}"/>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graphicEl>
                                              <a:dgm id="{A1BFD19E-013F-425F-9E1D-B8D9E2D547D4}"/>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graphicEl>
                                              <a:dgm id="{55B948EC-5D29-469C-90DD-A346A63BEB1F}"/>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4">
                                            <p:graphicEl>
                                              <a:dgm id="{57802E43-64E3-4E0A-8705-B64768B24FCD}"/>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4">
                                            <p:graphicEl>
                                              <a:dgm id="{2D152C46-05CA-4F0B-9FEE-E1D4734E2195}"/>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4">
                                            <p:graphicEl>
                                              <a:dgm id="{FBC96F52-3FAE-4931-A98C-8E44ADEE80AF}"/>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4">
                                            <p:graphicEl>
                                              <a:dgm id="{4D457925-AAEE-4A89-9603-61862D07EF7D}"/>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4">
                                            <p:graphicEl>
                                              <a:dgm id="{C443C9CC-2017-4297-9CED-0183F181388F}"/>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4">
                                            <p:graphicEl>
                                              <a:dgm id="{CAD96959-A535-468F-BB30-103C9E3BC371}"/>
                                            </p:graphic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4">
                                            <p:graphicEl>
                                              <a:dgm id="{154EABA3-ECBB-4123-B78A-CF6B6839F4B1}"/>
                                            </p:graphic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4">
                                            <p:graphicEl>
                                              <a:dgm id="{8EB5FB2E-FD21-4493-BF05-A1039629E8B3}"/>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4">
                                            <p:graphicEl>
                                              <a:dgm id="{F48EE89F-7399-4017-9C3B-EEFF43A7C04C}"/>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4">
                                            <p:graphicEl>
                                              <a:dgm id="{BD94DD56-E69A-47BC-8793-5A2EA5533204}"/>
                                            </p:graphic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4">
                                            <p:graphicEl>
                                              <a:dgm id="{C9844460-F1BA-4654-959A-768ADD62A7C6}"/>
                                            </p:graphic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4">
                                            <p:graphicEl>
                                              <a:dgm id="{214AD936-926C-4826-90CC-29E684C2E1A6}"/>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4" grpId="0">
        <p:bldSub>
          <a:bldDgm bld="one"/>
        </p:bldSub>
      </p:bldGraphic>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F44B4-7538-B2CA-A201-90FFA5470C96}"/>
              </a:ext>
            </a:extLst>
          </p:cNvPr>
          <p:cNvSpPr>
            <a:spLocks noGrp="1"/>
          </p:cNvSpPr>
          <p:nvPr>
            <p:ph type="title"/>
          </p:nvPr>
        </p:nvSpPr>
        <p:spPr>
          <a:xfrm>
            <a:off x="699561" y="184407"/>
            <a:ext cx="11040533" cy="500458"/>
          </a:xfrm>
        </p:spPr>
        <p:txBody>
          <a:bodyPr>
            <a:noAutofit/>
          </a:bodyPr>
          <a:lstStyle/>
          <a:p>
            <a:r>
              <a:rPr lang="en-US" sz="3500" dirty="0">
                <a:solidFill>
                  <a:schemeClr val="tx1"/>
                </a:solidFill>
                <a:latin typeface="Calibri"/>
                <a:ea typeface="Calibri"/>
                <a:cs typeface="Calibri"/>
              </a:rPr>
              <a:t>Results</a:t>
            </a:r>
          </a:p>
        </p:txBody>
      </p:sp>
      <p:pic>
        <p:nvPicPr>
          <p:cNvPr id="4" name="Content Placeholder 3">
            <a:extLst>
              <a:ext uri="{FF2B5EF4-FFF2-40B4-BE49-F238E27FC236}">
                <a16:creationId xmlns:a16="http://schemas.microsoft.com/office/drawing/2014/main" id="{AAB4F146-3435-CE2A-CBF8-B967E4EF68B7}"/>
              </a:ext>
            </a:extLst>
          </p:cNvPr>
          <p:cNvPicPr>
            <a:picLocks noGrp="1" noChangeAspect="1"/>
          </p:cNvPicPr>
          <p:nvPr>
            <p:ph idx="1"/>
          </p:nvPr>
        </p:nvPicPr>
        <p:blipFill>
          <a:blip r:embed="rId2" cstate="print"/>
          <a:stretch>
            <a:fillRect/>
          </a:stretch>
        </p:blipFill>
        <p:spPr>
          <a:xfrm>
            <a:off x="2102787" y="591871"/>
            <a:ext cx="8625968" cy="5223340"/>
          </a:xfrm>
          <a:prstGeom prst="rect">
            <a:avLst/>
          </a:prstGeom>
        </p:spPr>
      </p:pic>
      <p:sp>
        <p:nvSpPr>
          <p:cNvPr id="5" name="TextBox 4">
            <a:extLst>
              <a:ext uri="{FF2B5EF4-FFF2-40B4-BE49-F238E27FC236}">
                <a16:creationId xmlns:a16="http://schemas.microsoft.com/office/drawing/2014/main" id="{B01F03E7-BC75-3B47-1CE0-E4B752C0882F}"/>
              </a:ext>
            </a:extLst>
          </p:cNvPr>
          <p:cNvSpPr txBox="1"/>
          <p:nvPr/>
        </p:nvSpPr>
        <p:spPr>
          <a:xfrm>
            <a:off x="2615291" y="5821136"/>
            <a:ext cx="942263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dirty="0">
                <a:latin typeface="Calibri"/>
                <a:ea typeface="Calibri"/>
                <a:cs typeface="Calibri"/>
              </a:rPr>
              <a:t>Achieved SMART Aim of increasing documented Transition Plan from baseline of 20% to &gt;50%</a:t>
            </a:r>
          </a:p>
          <a:p>
            <a:pPr marL="285750" indent="-285750">
              <a:buFont typeface="Arial"/>
              <a:buChar char="•"/>
            </a:pPr>
            <a:r>
              <a:rPr lang="en-US" b="1" dirty="0">
                <a:latin typeface="Calibri"/>
                <a:ea typeface="Calibri"/>
                <a:cs typeface="Calibri"/>
              </a:rPr>
              <a:t>Statistically significant centerline shift from </a:t>
            </a:r>
            <a:r>
              <a:rPr lang="en-US" b="1" dirty="0">
                <a:solidFill>
                  <a:schemeClr val="tx2">
                    <a:lumMod val="76000"/>
                    <a:lumOff val="24000"/>
                  </a:schemeClr>
                </a:solidFill>
                <a:latin typeface="Calibri"/>
                <a:ea typeface="Calibri"/>
                <a:cs typeface="Calibri"/>
              </a:rPr>
              <a:t>baseline of 49% to 65% </a:t>
            </a:r>
            <a:r>
              <a:rPr lang="en-US" b="1" dirty="0">
                <a:latin typeface="Calibri"/>
                <a:ea typeface="Calibri"/>
                <a:cs typeface="Calibri"/>
              </a:rPr>
              <a:t>by June 2025.</a:t>
            </a:r>
          </a:p>
        </p:txBody>
      </p:sp>
    </p:spTree>
    <p:extLst>
      <p:ext uri="{BB962C8B-B14F-4D97-AF65-F5344CB8AC3E}">
        <p14:creationId xmlns:p14="http://schemas.microsoft.com/office/powerpoint/2010/main" val="3110144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AD591-6F75-93DC-76D0-4E31F8397F7A}"/>
              </a:ext>
            </a:extLst>
          </p:cNvPr>
          <p:cNvSpPr>
            <a:spLocks noGrp="1"/>
          </p:cNvSpPr>
          <p:nvPr>
            <p:ph type="title" idx="4294967295"/>
          </p:nvPr>
        </p:nvSpPr>
        <p:spPr>
          <a:xfrm>
            <a:off x="733571" y="467418"/>
            <a:ext cx="9878484" cy="749747"/>
          </a:xfrm>
        </p:spPr>
        <p:txBody>
          <a:bodyPr>
            <a:normAutofit/>
          </a:bodyPr>
          <a:lstStyle/>
          <a:p>
            <a:r>
              <a:rPr lang="en-US" sz="3500" dirty="0">
                <a:latin typeface="Calibri"/>
                <a:ea typeface="Calibri"/>
                <a:cs typeface="Calibri"/>
              </a:rPr>
              <a:t>Summary</a:t>
            </a:r>
          </a:p>
        </p:txBody>
      </p:sp>
      <p:graphicFrame>
        <p:nvGraphicFramePr>
          <p:cNvPr id="5" name="Diagram 4">
            <a:extLst>
              <a:ext uri="{FF2B5EF4-FFF2-40B4-BE49-F238E27FC236}">
                <a16:creationId xmlns:a16="http://schemas.microsoft.com/office/drawing/2014/main" id="{6B0C64BA-61BD-F4BA-CE4F-AC3958E3E020}"/>
              </a:ext>
            </a:extLst>
          </p:cNvPr>
          <p:cNvGraphicFramePr/>
          <p:nvPr/>
        </p:nvGraphicFramePr>
        <p:xfrm>
          <a:off x="735877" y="1479012"/>
          <a:ext cx="7405597" cy="38411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007004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6A065E-5D39-B0C2-F834-1E20B0EE2A6D}"/>
              </a:ext>
            </a:extLst>
          </p:cNvPr>
          <p:cNvSpPr>
            <a:spLocks noGrp="1"/>
          </p:cNvSpPr>
          <p:nvPr>
            <p:ph type="title" idx="4294967295"/>
          </p:nvPr>
        </p:nvSpPr>
        <p:spPr>
          <a:xfrm>
            <a:off x="771525" y="271463"/>
            <a:ext cx="7569200" cy="539750"/>
          </a:xfrm>
        </p:spPr>
        <p:txBody>
          <a:bodyPr anchor="b">
            <a:noAutofit/>
          </a:bodyPr>
          <a:lstStyle/>
          <a:p>
            <a:r>
              <a:rPr lang="en-US" sz="3500" dirty="0">
                <a:solidFill>
                  <a:schemeClr val="tx1"/>
                </a:solidFill>
                <a:latin typeface="Calibri"/>
                <a:ea typeface="Calibri"/>
                <a:cs typeface="Calibri"/>
              </a:rPr>
              <a:t>Thank you !!</a:t>
            </a:r>
          </a:p>
        </p:txBody>
      </p:sp>
      <p:pic>
        <p:nvPicPr>
          <p:cNvPr id="7" name="Picture 6" descr="A cartoon of a cat with a bow tie&#10;&#10;AI-generated content may be incorrect.">
            <a:extLst>
              <a:ext uri="{FF2B5EF4-FFF2-40B4-BE49-F238E27FC236}">
                <a16:creationId xmlns:a16="http://schemas.microsoft.com/office/drawing/2014/main" id="{86F27D77-3218-2BFC-9690-660D414F6874}"/>
              </a:ext>
            </a:extLst>
          </p:cNvPr>
          <p:cNvPicPr>
            <a:picLocks noChangeAspect="1"/>
          </p:cNvPicPr>
          <p:nvPr/>
        </p:nvPicPr>
        <p:blipFill>
          <a:blip r:embed="rId2" cstate="print"/>
          <a:stretch>
            <a:fillRect/>
          </a:stretch>
        </p:blipFill>
        <p:spPr>
          <a:xfrm>
            <a:off x="3165475" y="200025"/>
            <a:ext cx="662517" cy="685800"/>
          </a:xfrm>
          <a:prstGeom prst="rect">
            <a:avLst/>
          </a:prstGeom>
        </p:spPr>
      </p:pic>
      <p:graphicFrame>
        <p:nvGraphicFramePr>
          <p:cNvPr id="4" name="Diagram 3">
            <a:extLst>
              <a:ext uri="{FF2B5EF4-FFF2-40B4-BE49-F238E27FC236}">
                <a16:creationId xmlns:a16="http://schemas.microsoft.com/office/drawing/2014/main" id="{32BA0EE4-9E22-778F-5529-F332BE310A2E}"/>
              </a:ext>
            </a:extLst>
          </p:cNvPr>
          <p:cNvGraphicFramePr/>
          <p:nvPr/>
        </p:nvGraphicFramePr>
        <p:xfrm>
          <a:off x="-1275070" y="886595"/>
          <a:ext cx="8876112" cy="51432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2" name="TextBox 164">
            <a:extLst>
              <a:ext uri="{FF2B5EF4-FFF2-40B4-BE49-F238E27FC236}">
                <a16:creationId xmlns:a16="http://schemas.microsoft.com/office/drawing/2014/main" id="{2AFA3D20-8837-BEAA-AE4D-82F30C1548E6}"/>
              </a:ext>
            </a:extLst>
          </p:cNvPr>
          <p:cNvSpPr txBox="1"/>
          <p:nvPr/>
        </p:nvSpPr>
        <p:spPr>
          <a:xfrm>
            <a:off x="6361059" y="543029"/>
            <a:ext cx="4792900" cy="532453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a:buChar char="•"/>
            </a:pPr>
            <a:r>
              <a:rPr lang="en-US" sz="2000" b="1" dirty="0">
                <a:latin typeface="Calibri"/>
                <a:ea typeface="Noto Sans"/>
                <a:cs typeface="Noto Sans"/>
              </a:rPr>
              <a:t>TCH Diabetes Care Process Team</a:t>
            </a:r>
          </a:p>
          <a:p>
            <a:pPr marL="742950" lvl="1" indent="-285750">
              <a:buFont typeface="Courier New"/>
              <a:buChar char="o"/>
            </a:pPr>
            <a:r>
              <a:rPr lang="en-US" sz="2000" b="1" dirty="0">
                <a:latin typeface="Calibri"/>
                <a:ea typeface="Calibri"/>
                <a:cs typeface="Calibri"/>
              </a:rPr>
              <a:t>Division Chief:</a:t>
            </a:r>
            <a:r>
              <a:rPr lang="en-US" sz="2000" dirty="0">
                <a:latin typeface="Calibri"/>
                <a:ea typeface="Calibri"/>
                <a:cs typeface="Calibri"/>
              </a:rPr>
              <a:t> Rona </a:t>
            </a:r>
            <a:r>
              <a:rPr lang="en-US" sz="2000" dirty="0" err="1">
                <a:latin typeface="Calibri"/>
                <a:ea typeface="Calibri"/>
                <a:cs typeface="Calibri"/>
              </a:rPr>
              <a:t>Sonabend</a:t>
            </a:r>
            <a:r>
              <a:rPr lang="en-US" sz="2000" dirty="0">
                <a:latin typeface="Calibri"/>
                <a:ea typeface="Calibri"/>
                <a:cs typeface="Calibri"/>
              </a:rPr>
              <a:t>, MD</a:t>
            </a:r>
          </a:p>
          <a:p>
            <a:pPr marL="742950" lvl="1" indent="-285750">
              <a:buFont typeface="Courier New"/>
              <a:buChar char="o"/>
            </a:pPr>
            <a:r>
              <a:rPr lang="en-US" sz="2000" dirty="0">
                <a:latin typeface="Calibri"/>
                <a:ea typeface="Calibri"/>
                <a:cs typeface="Calibri"/>
              </a:rPr>
              <a:t>Daniel DeSalvo, MD</a:t>
            </a:r>
            <a:endParaRPr lang="en-US" sz="2000" dirty="0">
              <a:latin typeface="Calibri"/>
              <a:ea typeface="Noto Sans"/>
              <a:cs typeface="Noto Sans"/>
            </a:endParaRPr>
          </a:p>
          <a:p>
            <a:pPr marL="742950" lvl="1" indent="-285750">
              <a:buFont typeface="Courier New"/>
              <a:buChar char="o"/>
            </a:pPr>
            <a:r>
              <a:rPr lang="en-US" sz="2000" dirty="0">
                <a:latin typeface="Calibri"/>
                <a:ea typeface="Noto Sans"/>
                <a:cs typeface="Noto Sans"/>
              </a:rPr>
              <a:t>Sarah Lyons, MD</a:t>
            </a:r>
            <a:endParaRPr lang="en-US" dirty="0">
              <a:latin typeface="Aptos" panose="020B0004020202020204"/>
              <a:ea typeface="Noto Sans"/>
              <a:cs typeface="Noto Sans"/>
            </a:endParaRPr>
          </a:p>
          <a:p>
            <a:pPr marL="742950" lvl="1" indent="-285750">
              <a:buFont typeface="Courier New"/>
              <a:buChar char="o"/>
            </a:pPr>
            <a:r>
              <a:rPr lang="en-US" sz="2000" dirty="0" err="1">
                <a:latin typeface="Calibri"/>
                <a:ea typeface="Noto Sans"/>
                <a:cs typeface="Noto Sans"/>
              </a:rPr>
              <a:t>Siripoom</a:t>
            </a:r>
            <a:r>
              <a:rPr lang="en-US" sz="2000" dirty="0">
                <a:latin typeface="Calibri"/>
                <a:ea typeface="Noto Sans"/>
                <a:cs typeface="Noto Sans"/>
              </a:rPr>
              <a:t> McKay, MD</a:t>
            </a:r>
            <a:endParaRPr lang="en-US">
              <a:latin typeface="Aptos" panose="020B0004020202020204"/>
              <a:ea typeface="Noto Sans"/>
              <a:cs typeface="Noto Sans"/>
            </a:endParaRPr>
          </a:p>
          <a:p>
            <a:pPr marL="742950" lvl="1" indent="-285750">
              <a:buFont typeface="Courier New,monospace"/>
              <a:buChar char="o"/>
            </a:pPr>
            <a:r>
              <a:rPr lang="en-US" sz="2000" dirty="0">
                <a:latin typeface="Calibri"/>
                <a:ea typeface="Calibri"/>
                <a:cs typeface="Calibri"/>
              </a:rPr>
              <a:t>Melissa Marshall, RN</a:t>
            </a:r>
          </a:p>
          <a:p>
            <a:pPr marL="742950" lvl="1" indent="-285750">
              <a:buFont typeface="Courier New,monospace"/>
              <a:buChar char="o"/>
            </a:pPr>
            <a:r>
              <a:rPr lang="en-US" sz="2000" dirty="0">
                <a:latin typeface="Calibri"/>
                <a:ea typeface="Calibri"/>
                <a:cs typeface="Calibri"/>
              </a:rPr>
              <a:t>Curtis Yee, Practice administrator</a:t>
            </a:r>
            <a:endParaRPr lang="en-US" dirty="0"/>
          </a:p>
          <a:p>
            <a:pPr marL="742950" lvl="1" indent="-285750">
              <a:buFont typeface="Courier New"/>
              <a:buChar char="o"/>
            </a:pPr>
            <a:r>
              <a:rPr lang="en-US" sz="2000" dirty="0">
                <a:latin typeface="Calibri"/>
                <a:ea typeface="Noto Sans"/>
                <a:cs typeface="Noto Sans"/>
              </a:rPr>
              <a:t>Cynthia Sanders, DNP, CPNP-PC</a:t>
            </a:r>
            <a:endParaRPr lang="en-US" dirty="0"/>
          </a:p>
          <a:p>
            <a:pPr marL="742950" lvl="1" indent="-285750">
              <a:buFont typeface="Courier New"/>
              <a:buChar char="o"/>
            </a:pPr>
            <a:r>
              <a:rPr lang="en-US" sz="2000" dirty="0">
                <a:latin typeface="Calibri"/>
                <a:ea typeface="Noto Sans"/>
                <a:cs typeface="Noto Sans"/>
              </a:rPr>
              <a:t>Elizabeth Kubota-Mishra, MD</a:t>
            </a:r>
          </a:p>
          <a:p>
            <a:pPr marL="742950" lvl="1" indent="-285750">
              <a:buFont typeface="Courier New,monospace"/>
              <a:buChar char="o"/>
            </a:pPr>
            <a:r>
              <a:rPr lang="en-US" sz="2000" dirty="0">
                <a:latin typeface="Calibri"/>
                <a:ea typeface="Calibri"/>
                <a:cs typeface="Calibri"/>
              </a:rPr>
              <a:t>Sophia Ebenezer, MD</a:t>
            </a:r>
          </a:p>
          <a:p>
            <a:pPr marL="742950" lvl="1" indent="-285750">
              <a:buFont typeface="Courier New,monospace"/>
              <a:buChar char="o"/>
            </a:pPr>
            <a:r>
              <a:rPr lang="en-US" sz="2000" dirty="0">
                <a:latin typeface="Calibri"/>
                <a:ea typeface="Calibri"/>
                <a:cs typeface="Calibri"/>
              </a:rPr>
              <a:t>Meghan Craven, MD</a:t>
            </a:r>
          </a:p>
          <a:p>
            <a:pPr marL="742950" lvl="1" indent="-285750">
              <a:buFont typeface="Courier New,monospace"/>
              <a:buChar char="o"/>
            </a:pPr>
            <a:r>
              <a:rPr lang="en-US" sz="2000" dirty="0">
                <a:latin typeface="Calibri"/>
                <a:ea typeface="Calibri"/>
                <a:cs typeface="Calibri"/>
              </a:rPr>
              <a:t>Nelly Miranda, RN, CDCES</a:t>
            </a:r>
          </a:p>
          <a:p>
            <a:pPr marL="742950" lvl="1" indent="-285750">
              <a:buFont typeface="Courier New"/>
              <a:buChar char="o"/>
            </a:pPr>
            <a:r>
              <a:rPr lang="en-US" sz="2000" dirty="0">
                <a:latin typeface="Calibri"/>
                <a:ea typeface="Noto Sans"/>
                <a:cs typeface="Noto Sans"/>
              </a:rPr>
              <a:t>Grace Kim, MD</a:t>
            </a:r>
            <a:endParaRPr lang="en-US" dirty="0">
              <a:latin typeface="Aptos" panose="020B0004020202020204"/>
              <a:ea typeface="Noto Sans"/>
              <a:cs typeface="Noto Sans"/>
            </a:endParaRPr>
          </a:p>
          <a:p>
            <a:pPr marL="742950" lvl="1" indent="-285750">
              <a:buFont typeface="Courier New"/>
              <a:buChar char="o"/>
            </a:pPr>
            <a:r>
              <a:rPr lang="en-US" sz="2000" dirty="0">
                <a:latin typeface="Calibri"/>
                <a:ea typeface="Noto Sans"/>
                <a:cs typeface="Noto Sans"/>
              </a:rPr>
              <a:t>Mili Vakharia, FNP-C, CDCES</a:t>
            </a:r>
          </a:p>
          <a:p>
            <a:pPr marL="285750" indent="-285750">
              <a:buFont typeface="Arial"/>
              <a:buChar char="•"/>
            </a:pPr>
            <a:r>
              <a:rPr lang="en-US" sz="2000" b="1" dirty="0">
                <a:latin typeface="Calibri"/>
                <a:ea typeface="Noto Sans"/>
                <a:cs typeface="Noto Sans"/>
              </a:rPr>
              <a:t>Don Buckingham, MBOE, CPHQ</a:t>
            </a:r>
            <a:endParaRPr lang="en-US" sz="2000" dirty="0">
              <a:latin typeface="Calibri"/>
              <a:ea typeface="Calibri"/>
              <a:cs typeface="Calibri"/>
            </a:endParaRPr>
          </a:p>
          <a:p>
            <a:pPr marL="285750" indent="-285750">
              <a:buFont typeface="Arial"/>
              <a:buChar char="•"/>
            </a:pPr>
            <a:r>
              <a:rPr lang="en-US" sz="2000" b="1" dirty="0">
                <a:latin typeface="Calibri"/>
                <a:ea typeface="Noto Sans"/>
                <a:cs typeface="Noto Sans"/>
              </a:rPr>
              <a:t>Mark Rittenhouse, EPIC/IS Architect</a:t>
            </a:r>
            <a:endParaRPr lang="en-US" dirty="0">
              <a:latin typeface="Aptos" panose="020B0004020202020204"/>
              <a:ea typeface="Noto Sans"/>
              <a:cs typeface="Noto Sans"/>
            </a:endParaRPr>
          </a:p>
          <a:p>
            <a:pPr marL="285750" indent="-285750">
              <a:buFont typeface="Arial"/>
              <a:buChar char="•"/>
            </a:pPr>
            <a:r>
              <a:rPr lang="en-US" sz="2000" b="1" dirty="0">
                <a:latin typeface="Calibri"/>
                <a:ea typeface="Noto Sans"/>
                <a:cs typeface="Noto Sans"/>
              </a:rPr>
              <a:t>T1D Exchange QI Collaborative</a:t>
            </a:r>
            <a:endParaRPr lang="en-US" dirty="0"/>
          </a:p>
        </p:txBody>
      </p:sp>
      <p:sp>
        <p:nvSpPr>
          <p:cNvPr id="327" name="TextBox 164">
            <a:extLst>
              <a:ext uri="{FF2B5EF4-FFF2-40B4-BE49-F238E27FC236}">
                <a16:creationId xmlns:a16="http://schemas.microsoft.com/office/drawing/2014/main" id="{090E3D53-2FD4-FA9F-BC0B-2F024220DD54}"/>
              </a:ext>
            </a:extLst>
          </p:cNvPr>
          <p:cNvSpPr txBox="1"/>
          <p:nvPr/>
        </p:nvSpPr>
        <p:spPr>
          <a:xfrm>
            <a:off x="6094804" y="5987701"/>
            <a:ext cx="4792900" cy="92333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a:latin typeface="Calibri"/>
                <a:ea typeface="Noto Sans"/>
                <a:cs typeface="Noto Sans"/>
              </a:rPr>
              <a:t>Mili Vakharia, FNP-C, CDCES</a:t>
            </a:r>
            <a:endParaRPr lang="en-US" dirty="0">
              <a:latin typeface="Aptos" panose="020B0004020202020204"/>
              <a:ea typeface="Noto Sans"/>
              <a:cs typeface="Noto Sans"/>
            </a:endParaRPr>
          </a:p>
          <a:p>
            <a:pPr algn="ctr"/>
            <a:r>
              <a:rPr lang="en-US" b="1" dirty="0">
                <a:solidFill>
                  <a:srgbClr val="0070C0"/>
                </a:solidFill>
                <a:latin typeface="Calibri"/>
                <a:ea typeface="Noto Sans"/>
                <a:cs typeface="Noto Sans"/>
                <a:hlinkClick r:id="rId8">
                  <a:extLst>
                    <a:ext uri="{A12FA001-AC4F-418D-AE19-62706E023703}">
                      <ahyp:hlinkClr xmlns:ahyp="http://schemas.microsoft.com/office/drawing/2018/hyperlinkcolor" val="tx"/>
                    </a:ext>
                  </a:extLst>
                </a:hlinkClick>
              </a:rPr>
              <a:t>Vakharia@bcm.edu</a:t>
            </a:r>
          </a:p>
          <a:p>
            <a:pPr algn="ctr"/>
            <a:endParaRPr lang="en-US" b="1" dirty="0">
              <a:solidFill>
                <a:srgbClr val="7030A0"/>
              </a:solidFill>
              <a:latin typeface="Calibri"/>
              <a:ea typeface="Noto Sans"/>
              <a:cs typeface="Noto Sans"/>
            </a:endParaRPr>
          </a:p>
        </p:txBody>
      </p:sp>
    </p:spTree>
    <p:extLst>
      <p:ext uri="{BB962C8B-B14F-4D97-AF65-F5344CB8AC3E}">
        <p14:creationId xmlns:p14="http://schemas.microsoft.com/office/powerpoint/2010/main" val="13528173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5A540-5B7C-AB02-60A8-3884BDB57054}"/>
            </a:ext>
          </a:extLst>
        </p:cNvPr>
        <p:cNvGrpSpPr/>
        <p:nvPr/>
      </p:nvGrpSpPr>
      <p:grpSpPr>
        <a:xfrm>
          <a:off x="0" y="0"/>
          <a:ext cx="0" cy="0"/>
          <a:chOff x="0" y="0"/>
          <a:chExt cx="0" cy="0"/>
        </a:xfrm>
      </p:grpSpPr>
    </p:spTree>
    <p:extLst>
      <p:ext uri="{BB962C8B-B14F-4D97-AF65-F5344CB8AC3E}">
        <p14:creationId xmlns:p14="http://schemas.microsoft.com/office/powerpoint/2010/main" val="1202352802"/>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 y="946989"/>
            <a:ext cx="12192001" cy="5130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0" y="0"/>
            <a:ext cx="12192000" cy="1773044"/>
          </a:xfrm>
          <a:prstGeom prst="rect">
            <a:avLst/>
          </a:prstGeom>
          <a:solidFill>
            <a:srgbClr val="CFB8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1066798" y="564242"/>
            <a:ext cx="10058400" cy="885232"/>
          </a:xfrm>
        </p:spPr>
        <p:txBody>
          <a:bodyPr>
            <a:normAutofit fontScale="90000"/>
          </a:bodyPr>
          <a:lstStyle/>
          <a:p>
            <a:pPr algn="ctr"/>
            <a:r>
              <a:rPr lang="en-US" sz="4000" b="1" dirty="0">
                <a:solidFill>
                  <a:schemeClr val="tx1"/>
                </a:solidFill>
                <a:latin typeface="Arial"/>
                <a:cs typeface="Arial"/>
              </a:rPr>
              <a:t>Development of Transition Curriculum from Patient Identified Topics</a:t>
            </a:r>
          </a:p>
        </p:txBody>
      </p:sp>
      <p:sp>
        <p:nvSpPr>
          <p:cNvPr id="3" name="Content Placeholder 2"/>
          <p:cNvSpPr>
            <a:spLocks noGrp="1"/>
          </p:cNvSpPr>
          <p:nvPr>
            <p:ph idx="1"/>
          </p:nvPr>
        </p:nvSpPr>
        <p:spPr>
          <a:xfrm>
            <a:off x="163773" y="1237234"/>
            <a:ext cx="11873552" cy="4548294"/>
          </a:xfrm>
          <a:noFill/>
        </p:spPr>
        <p:txBody>
          <a:bodyPr>
            <a:normAutofit/>
          </a:bodyPr>
          <a:lstStyle/>
          <a:p>
            <a:endParaRPr lang="en-US" dirty="0"/>
          </a:p>
          <a:p>
            <a:endParaRPr lang="en-US" dirty="0"/>
          </a:p>
          <a:p>
            <a:r>
              <a:rPr lang="en-US" sz="3200" dirty="0">
                <a:latin typeface="Arial" panose="020B0604020202020204" pitchFamily="34" charset="0"/>
                <a:cs typeface="Arial" panose="020B0604020202020204" pitchFamily="34" charset="0"/>
              </a:rPr>
              <a:t>Lauren Waterman, MD; Emily </a:t>
            </a:r>
            <a:r>
              <a:rPr lang="en-US" sz="3200" dirty="0" err="1">
                <a:latin typeface="Arial" panose="020B0604020202020204" pitchFamily="34" charset="0"/>
                <a:cs typeface="Arial" panose="020B0604020202020204" pitchFamily="34" charset="0"/>
              </a:rPr>
              <a:t>Boranian</a:t>
            </a:r>
            <a:r>
              <a:rPr lang="en-US" sz="3200" dirty="0">
                <a:latin typeface="Arial" panose="020B0604020202020204" pitchFamily="34" charset="0"/>
                <a:cs typeface="Arial" panose="020B0604020202020204" pitchFamily="34" charset="0"/>
              </a:rPr>
              <a:t>, RN, CDCES; </a:t>
            </a:r>
          </a:p>
          <a:p>
            <a:r>
              <a:rPr lang="en-US" sz="3200" dirty="0">
                <a:latin typeface="Arial" panose="020B0604020202020204" pitchFamily="34" charset="0"/>
                <a:cs typeface="Arial" panose="020B0604020202020204" pitchFamily="34" charset="0"/>
              </a:rPr>
              <a:t>Erin Cobry, MD </a:t>
            </a:r>
            <a:endParaRPr lang="en-US" sz="3200" b="1" baseline="30000" dirty="0"/>
          </a:p>
          <a:p>
            <a:pPr>
              <a:lnSpc>
                <a:spcPct val="100000"/>
              </a:lnSpc>
            </a:pPr>
            <a:r>
              <a:rPr lang="en-US" dirty="0">
                <a:latin typeface="Arial" panose="020B0604020202020204" pitchFamily="34" charset="0"/>
                <a:cs typeface="Arial" panose="020B0604020202020204" pitchFamily="34" charset="0"/>
              </a:rPr>
              <a:t>University of Colorado Anschutz Medical Campus</a:t>
            </a:r>
          </a:p>
          <a:p>
            <a:pPr>
              <a:lnSpc>
                <a:spcPct val="100000"/>
              </a:lnSpc>
            </a:pPr>
            <a:r>
              <a:rPr lang="en-US" dirty="0">
                <a:latin typeface="Arial" panose="020B0604020202020204" pitchFamily="34" charset="0"/>
                <a:cs typeface="Arial" panose="020B0604020202020204" pitchFamily="34" charset="0"/>
              </a:rPr>
              <a:t>Barbara Davis Center for Diabetes, Aurora, CO, USA</a:t>
            </a:r>
            <a:endParaRPr lang="en-US" dirty="0"/>
          </a:p>
          <a:p>
            <a:endParaRPr lang="en-US" dirty="0"/>
          </a:p>
        </p:txBody>
      </p:sp>
      <p:sp>
        <p:nvSpPr>
          <p:cNvPr id="8" name="Rectangle 7"/>
          <p:cNvSpPr/>
          <p:nvPr/>
        </p:nvSpPr>
        <p:spPr>
          <a:xfrm>
            <a:off x="4123507" y="5552553"/>
            <a:ext cx="3944981"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Arial" panose="020B0604020202020204" pitchFamily="34" charset="0"/>
                <a:cs typeface="Arial" panose="020B0604020202020204" pitchFamily="34" charset="0"/>
              </a:rPr>
              <a:t>November</a:t>
            </a:r>
            <a:r>
              <a:rPr lang="en-US" sz="2800" dirty="0">
                <a:latin typeface="Arial" panose="020B0604020202020204" pitchFamily="34" charset="0"/>
                <a:cs typeface="Arial" panose="020B0604020202020204" pitchFamily="34" charset="0"/>
              </a:rPr>
              <a:t> 2025</a:t>
            </a:r>
            <a:endParaRPr kumimoji="0" lang="en-US" sz="2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025084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a:xfrm>
            <a:off x="824324" y="232016"/>
            <a:ext cx="7241503" cy="757430"/>
          </a:xfrm>
        </p:spPr>
        <p:txBody>
          <a:bodyPr/>
          <a:lstStyle/>
          <a:p>
            <a:pPr eaLnBrk="1" hangingPunct="1"/>
            <a:r>
              <a:rPr lang="en-US" sz="4000" b="1" dirty="0">
                <a:latin typeface="Arial" panose="020B0604020202020204" pitchFamily="34" charset="0"/>
                <a:cs typeface="Arial" panose="020B0604020202020204" pitchFamily="34" charset="0"/>
              </a:rPr>
              <a:t>Disclosures</a:t>
            </a:r>
          </a:p>
        </p:txBody>
      </p:sp>
      <p:sp>
        <p:nvSpPr>
          <p:cNvPr id="19458" name="Content Placeholder 2"/>
          <p:cNvSpPr>
            <a:spLocks noGrp="1"/>
          </p:cNvSpPr>
          <p:nvPr>
            <p:ph idx="1"/>
          </p:nvPr>
        </p:nvSpPr>
        <p:spPr>
          <a:xfrm>
            <a:off x="824324" y="1160061"/>
            <a:ext cx="10435079" cy="4421874"/>
          </a:xfrm>
        </p:spPr>
        <p:txBody>
          <a:bodyPr numCol="1">
            <a:noAutofit/>
          </a:bodyPr>
          <a:lstStyle/>
          <a:p>
            <a:pPr>
              <a:lnSpc>
                <a:spcPct val="114000"/>
              </a:lnSpc>
              <a:spcBef>
                <a:spcPts val="600"/>
              </a:spcBef>
              <a:spcAft>
                <a:spcPts val="0"/>
              </a:spcAft>
              <a:buFont typeface="Arial" panose="020B0604020202020204" pitchFamily="34" charset="0"/>
              <a:buChar char="•"/>
            </a:pPr>
            <a:r>
              <a:rPr lang="en-US" sz="2400" b="1" dirty="0">
                <a:solidFill>
                  <a:schemeClr val="tx1"/>
                </a:solidFill>
                <a:latin typeface="Arial" panose="020B0604020202020204" pitchFamily="34" charset="0"/>
                <a:cs typeface="Arial" panose="020B0604020202020204" pitchFamily="34" charset="0"/>
              </a:rPr>
              <a:t>LAW </a:t>
            </a:r>
            <a:r>
              <a:rPr lang="en-US" sz="2400" dirty="0">
                <a:solidFill>
                  <a:schemeClr val="tx1"/>
                </a:solidFill>
                <a:latin typeface="Arial" panose="020B0604020202020204" pitchFamily="34" charset="0"/>
                <a:cs typeface="Arial" panose="020B0604020202020204" pitchFamily="34" charset="0"/>
              </a:rPr>
              <a:t> and </a:t>
            </a:r>
            <a:r>
              <a:rPr lang="en-US" sz="2400" b="1" dirty="0">
                <a:solidFill>
                  <a:schemeClr val="tx1"/>
                </a:solidFill>
                <a:latin typeface="Arial" panose="020B0604020202020204" pitchFamily="34" charset="0"/>
                <a:cs typeface="Arial" panose="020B0604020202020204" pitchFamily="34" charset="0"/>
              </a:rPr>
              <a:t>EB </a:t>
            </a:r>
            <a:r>
              <a:rPr lang="en-US" sz="2400" dirty="0">
                <a:solidFill>
                  <a:schemeClr val="tx1"/>
                </a:solidFill>
                <a:latin typeface="Arial" panose="020B0604020202020204" pitchFamily="34" charset="0"/>
                <a:cs typeface="Arial" panose="020B0604020202020204" pitchFamily="34" charset="0"/>
              </a:rPr>
              <a:t>have no conflicts of interest related to this project to disclose</a:t>
            </a:r>
          </a:p>
          <a:p>
            <a:pPr>
              <a:buFont typeface="Arial" panose="020B0604020202020204" pitchFamily="34" charset="0"/>
              <a:buChar char="•"/>
            </a:pPr>
            <a:r>
              <a:rPr lang="en-US" sz="2400" b="1" dirty="0">
                <a:solidFill>
                  <a:schemeClr val="tx1"/>
                </a:solidFill>
                <a:latin typeface="Arial" panose="020B0604020202020204" pitchFamily="34" charset="0"/>
                <a:cs typeface="Arial" panose="020B0604020202020204" pitchFamily="34" charset="0"/>
              </a:rPr>
              <a:t>EC </a:t>
            </a:r>
            <a:r>
              <a:rPr lang="en-US" sz="2400" dirty="0">
                <a:solidFill>
                  <a:schemeClr val="tx1"/>
                </a:solidFill>
                <a:latin typeface="Arial" panose="020B0604020202020204" pitchFamily="34" charset="0"/>
                <a:cs typeface="Arial" panose="020B0604020202020204" pitchFamily="34" charset="0"/>
              </a:rPr>
              <a:t>does research with Dexcom, Abbott, Tandem, </a:t>
            </a:r>
            <a:r>
              <a:rPr lang="en-US" sz="2400" dirty="0" err="1">
                <a:solidFill>
                  <a:schemeClr val="tx1"/>
                </a:solidFill>
                <a:latin typeface="Arial" panose="020B0604020202020204" pitchFamily="34" charset="0"/>
                <a:cs typeface="Arial" panose="020B0604020202020204" pitchFamily="34" charset="0"/>
              </a:rPr>
              <a:t>Insulet</a:t>
            </a:r>
            <a:r>
              <a:rPr lang="en-US" sz="2400" dirty="0">
                <a:solidFill>
                  <a:schemeClr val="tx1"/>
                </a:solidFill>
                <a:latin typeface="Arial" panose="020B0604020202020204" pitchFamily="34" charset="0"/>
                <a:cs typeface="Arial" panose="020B0604020202020204" pitchFamily="34" charset="0"/>
              </a:rPr>
              <a:t>, Medtronic, Beta Bionics, Luna Health, Eli Lilly, and Sequel Med Tech.</a:t>
            </a:r>
          </a:p>
        </p:txBody>
      </p:sp>
      <p:pic>
        <p:nvPicPr>
          <p:cNvPr id="4" name="Picture 3">
            <a:extLst>
              <a:ext uri="{FF2B5EF4-FFF2-40B4-BE49-F238E27FC236}">
                <a16:creationId xmlns:a16="http://schemas.microsoft.com/office/drawing/2014/main" id="{8097B5E0-20D2-4D3D-9B7E-A562587498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7280" y="6094449"/>
            <a:ext cx="4509655" cy="755553"/>
          </a:xfrm>
          <a:prstGeom prst="rect">
            <a:avLst/>
          </a:prstGeom>
        </p:spPr>
      </p:pic>
      <p:sp>
        <p:nvSpPr>
          <p:cNvPr id="3" name="TextBox 2">
            <a:extLst>
              <a:ext uri="{FF2B5EF4-FFF2-40B4-BE49-F238E27FC236}">
                <a16:creationId xmlns:a16="http://schemas.microsoft.com/office/drawing/2014/main" id="{43AA2AF8-97C4-99F3-167E-464F0C0CAB96}"/>
              </a:ext>
            </a:extLst>
          </p:cNvPr>
          <p:cNvSpPr txBox="1"/>
          <p:nvPr/>
        </p:nvSpPr>
        <p:spPr>
          <a:xfrm>
            <a:off x="11537004" y="6313251"/>
            <a:ext cx="369651" cy="369332"/>
          </a:xfrm>
          <a:prstGeom prst="rect">
            <a:avLst/>
          </a:prstGeom>
          <a:noFill/>
        </p:spPr>
        <p:txBody>
          <a:bodyPr wrap="square" rtlCol="0">
            <a:spAutoFit/>
          </a:bodyPr>
          <a:lstStyle/>
          <a:p>
            <a:fld id="{22F82C7F-765D-4FD9-8D3C-D8896EF8E442}" type="slidenum">
              <a:rPr lang="en-US" smtClean="0"/>
              <a:t>26</a:t>
            </a:fld>
            <a:endParaRPr lang="en-US"/>
          </a:p>
        </p:txBody>
      </p:sp>
    </p:spTree>
    <p:extLst>
      <p:ext uri="{BB962C8B-B14F-4D97-AF65-F5344CB8AC3E}">
        <p14:creationId xmlns:p14="http://schemas.microsoft.com/office/powerpoint/2010/main" val="3083434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2"/>
          <p:cNvSpPr>
            <a:spLocks noGrp="1" noChangeArrowheads="1"/>
          </p:cNvSpPr>
          <p:nvPr>
            <p:ph type="title"/>
          </p:nvPr>
        </p:nvSpPr>
        <p:spPr>
          <a:xfrm>
            <a:off x="366326" y="135448"/>
            <a:ext cx="8229600" cy="1096963"/>
          </a:xfrm>
        </p:spPr>
        <p:txBody>
          <a:bodyPr>
            <a:normAutofit/>
          </a:bodyPr>
          <a:lstStyle/>
          <a:p>
            <a:pPr algn="l" eaLnBrk="1" hangingPunct="1"/>
            <a:r>
              <a:rPr lang="en-US" sz="4000" b="1" dirty="0">
                <a:solidFill>
                  <a:schemeClr val="tx1"/>
                </a:solidFill>
                <a:latin typeface="Arial" panose="020B0604020202020204" pitchFamily="34" charset="0"/>
                <a:cs typeface="Arial" panose="020B0604020202020204" pitchFamily="34" charset="0"/>
              </a:rPr>
              <a:t>Background</a:t>
            </a:r>
          </a:p>
        </p:txBody>
      </p:sp>
      <p:sp>
        <p:nvSpPr>
          <p:cNvPr id="20482" name="Rectangle 3"/>
          <p:cNvSpPr>
            <a:spLocks noGrp="1" noChangeArrowheads="1"/>
          </p:cNvSpPr>
          <p:nvPr>
            <p:ph type="body" idx="1"/>
          </p:nvPr>
        </p:nvSpPr>
        <p:spPr>
          <a:xfrm>
            <a:off x="366326" y="1365956"/>
            <a:ext cx="11374244" cy="4210818"/>
          </a:xfrm>
        </p:spPr>
        <p:txBody>
          <a:bodyPr>
            <a:normAutofit fontScale="92500" lnSpcReduction="10000"/>
          </a:bodyPr>
          <a:lstStyle/>
          <a:p>
            <a:pPr eaLnBrk="1" hangingPunct="1">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Emerging adults with type 1 diabetes (T1D) struggle with glycemic control and transition readiness</a:t>
            </a:r>
          </a:p>
          <a:p>
            <a:pPr eaLnBrk="1" hangingPunct="1">
              <a:buFont typeface="Arial" panose="020B0604020202020204" pitchFamily="34" charset="0"/>
              <a:buChar char="•"/>
            </a:pPr>
            <a:endParaRPr lang="en-US" sz="2400" dirty="0">
              <a:solidFill>
                <a:schemeClr val="tx1"/>
              </a:solidFill>
              <a:latin typeface="Arial" panose="020B0604020202020204" pitchFamily="34" charset="0"/>
              <a:cs typeface="Arial" panose="020B0604020202020204" pitchFamily="34" charset="0"/>
            </a:endParaRPr>
          </a:p>
          <a:p>
            <a:pPr eaLnBrk="1" hangingPunct="1">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In addition to basic diabetes self-care, anticipatory guidance is required on:</a:t>
            </a:r>
          </a:p>
          <a:p>
            <a:pPr lvl="1">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Alcohol and substance use</a:t>
            </a:r>
          </a:p>
          <a:p>
            <a:pPr lvl="1">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Sex, contraception, and pregnancy</a:t>
            </a:r>
          </a:p>
          <a:p>
            <a:pPr lvl="1">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Insurance and health care navigation</a:t>
            </a:r>
          </a:p>
          <a:p>
            <a:pPr lvl="1">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Independent living/meal planning</a:t>
            </a:r>
          </a:p>
          <a:p>
            <a:pPr>
              <a:buFont typeface="Arial" panose="020B0604020202020204" pitchFamily="34" charset="0"/>
              <a:buChar char="•"/>
            </a:pPr>
            <a:endParaRPr lang="en-US" sz="2400" dirty="0">
              <a:solidFill>
                <a:schemeClr val="tx1"/>
              </a:solidFill>
              <a:latin typeface="Arial" panose="020B0604020202020204" pitchFamily="34" charset="0"/>
              <a:cs typeface="Arial" panose="020B0604020202020204" pitchFamily="34" charset="0"/>
            </a:endParaRPr>
          </a:p>
          <a:p>
            <a:pPr>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Comprehensive transition education can be difficult to achieve in routine clinical visits due to time limits</a:t>
            </a:r>
          </a:p>
          <a:p>
            <a:pPr eaLnBrk="1" hangingPunct="1">
              <a:buFont typeface="Arial" panose="020B0604020202020204" pitchFamily="34" charset="0"/>
              <a:buChar char="•"/>
            </a:pPr>
            <a:endParaRPr lang="en-US" sz="2800" dirty="0">
              <a:solidFill>
                <a:schemeClr val="tx1"/>
              </a:solidFill>
              <a:latin typeface="Arial" panose="020B0604020202020204" pitchFamily="34" charset="0"/>
              <a:cs typeface="Arial" panose="020B060402020202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627797" y="454878"/>
            <a:ext cx="8229600" cy="1096963"/>
          </a:xfrm>
        </p:spPr>
        <p:txBody>
          <a:bodyPr/>
          <a:lstStyle/>
          <a:p>
            <a:pPr algn="l" eaLnBrk="1" hangingPunct="1"/>
            <a:r>
              <a:rPr lang="en-US" b="1" dirty="0">
                <a:solidFill>
                  <a:schemeClr val="tx1"/>
                </a:solidFill>
                <a:latin typeface="Arial" panose="020B0604020202020204" pitchFamily="34" charset="0"/>
                <a:cs typeface="Arial" panose="020B0604020202020204" pitchFamily="34" charset="0"/>
              </a:rPr>
              <a:t>Objective</a:t>
            </a:r>
          </a:p>
        </p:txBody>
      </p:sp>
      <p:sp>
        <p:nvSpPr>
          <p:cNvPr id="22530" name="Rectangle 3"/>
          <p:cNvSpPr>
            <a:spLocks noGrp="1" noChangeArrowheads="1"/>
          </p:cNvSpPr>
          <p:nvPr>
            <p:ph type="body" idx="1"/>
          </p:nvPr>
        </p:nvSpPr>
        <p:spPr>
          <a:xfrm>
            <a:off x="627797" y="1814281"/>
            <a:ext cx="11068334" cy="4252357"/>
          </a:xfrm>
        </p:spPr>
        <p:txBody>
          <a:bodyPr>
            <a:normAutofit/>
          </a:bodyPr>
          <a:lstStyle/>
          <a:p>
            <a:pPr marL="0" indent="0" eaLnBrk="1" hangingPunct="1">
              <a:buNone/>
            </a:pPr>
            <a:endParaRPr lang="en-US" sz="3200" dirty="0">
              <a:solidFill>
                <a:schemeClr val="tx1"/>
              </a:solidFill>
              <a:latin typeface="Arial" panose="020B0604020202020204" pitchFamily="34" charset="0"/>
              <a:cs typeface="Arial" panose="020B0604020202020204" pitchFamily="34" charset="0"/>
            </a:endParaRPr>
          </a:p>
          <a:p>
            <a:pPr marL="0" indent="0">
              <a:buNone/>
            </a:pPr>
            <a:r>
              <a:rPr lang="en-US" sz="3200" dirty="0">
                <a:solidFill>
                  <a:schemeClr val="tx1"/>
                </a:solidFill>
                <a:latin typeface="Arial" panose="020B0604020202020204" pitchFamily="34" charset="0"/>
                <a:cs typeface="Arial" panose="020B0604020202020204" pitchFamily="34" charset="0"/>
              </a:rPr>
              <a:t>Determine discussion rates of patient-identified transition topics in a pediatric clinic through electronic health record (EHR) note template notification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ChangeArrowheads="1"/>
          </p:cNvSpPr>
          <p:nvPr>
            <p:ph type="title"/>
          </p:nvPr>
        </p:nvSpPr>
        <p:spPr>
          <a:xfrm>
            <a:off x="463826" y="69548"/>
            <a:ext cx="10058400" cy="895652"/>
          </a:xfrm>
        </p:spPr>
        <p:txBody>
          <a:bodyPr vert="horz" lIns="91440" tIns="45720" rIns="91440" bIns="45720" rtlCol="0" anchor="b">
            <a:normAutofit/>
          </a:bodyPr>
          <a:lstStyle/>
          <a:p>
            <a:r>
              <a:rPr lang="en-US" b="1" kern="1200" spc="-50" baseline="0" dirty="0">
                <a:latin typeface="Arial" panose="020B0604020202020204" pitchFamily="34" charset="0"/>
                <a:cs typeface="Arial" panose="020B0604020202020204" pitchFamily="34" charset="0"/>
              </a:rPr>
              <a:t>Methods: Patient-Identified Topics</a:t>
            </a:r>
          </a:p>
        </p:txBody>
      </p:sp>
      <p:sp>
        <p:nvSpPr>
          <p:cNvPr id="10246" name="Text Box 5"/>
          <p:cNvSpPr txBox="1">
            <a:spLocks noChangeArrowheads="1"/>
          </p:cNvSpPr>
          <p:nvPr/>
        </p:nvSpPr>
        <p:spPr bwMode="auto">
          <a:xfrm>
            <a:off x="373515" y="1049867"/>
            <a:ext cx="6523996" cy="5023556"/>
          </a:xfrm>
          <a:prstGeom prst="rect">
            <a:avLst/>
          </a:prstGeom>
        </p:spPr>
        <p:txBody>
          <a:bodyPr vert="horz" lIns="0" tIns="45720" rIns="0" bIns="45720" rtlCol="0">
            <a:normAutofit lnSpcReduction="10000"/>
          </a:bodyPr>
          <a:lstStyle/>
          <a:p>
            <a:pPr marL="285750" indent="-285750" defTabSz="914400">
              <a:lnSpc>
                <a:spcPct val="90000"/>
              </a:lnSpc>
              <a:spcBef>
                <a:spcPts val="1200"/>
              </a:spcBef>
              <a:spcAft>
                <a:spcPts val="200"/>
              </a:spcAft>
              <a:buClr>
                <a:schemeClr val="accent1"/>
              </a:buClr>
              <a:buSzPct val="100000"/>
              <a:buFont typeface="Arial" panose="020B0604020202020204" pitchFamily="34" charset="0"/>
              <a:buChar char="•"/>
            </a:pPr>
            <a:r>
              <a:rPr lang="en-US" dirty="0">
                <a:solidFill>
                  <a:schemeClr val="tx1">
                    <a:lumMod val="75000"/>
                    <a:lumOff val="25000"/>
                  </a:schemeClr>
                </a:solidFill>
                <a:latin typeface="Arial" panose="020B0604020202020204" pitchFamily="34" charset="0"/>
                <a:cs typeface="Arial" panose="020B0604020202020204" pitchFamily="34" charset="0"/>
              </a:rPr>
              <a:t>LYNX: Learning about Your New </a:t>
            </a:r>
            <a:r>
              <a:rPr lang="en-US" dirty="0" err="1">
                <a:solidFill>
                  <a:schemeClr val="tx1">
                    <a:lumMod val="75000"/>
                    <a:lumOff val="25000"/>
                  </a:schemeClr>
                </a:solidFill>
                <a:latin typeface="Arial" panose="020B0604020202020204" pitchFamily="34" charset="0"/>
                <a:cs typeface="Arial" panose="020B0604020202020204" pitchFamily="34" charset="0"/>
              </a:rPr>
              <a:t>eXperiences</a:t>
            </a:r>
            <a:endParaRPr lang="en-US" dirty="0">
              <a:solidFill>
                <a:schemeClr val="tx1">
                  <a:lumMod val="75000"/>
                  <a:lumOff val="25000"/>
                </a:schemeClr>
              </a:solidFill>
              <a:latin typeface="Arial" panose="020B0604020202020204" pitchFamily="34" charset="0"/>
              <a:cs typeface="Arial" panose="020B0604020202020204" pitchFamily="34" charset="0"/>
            </a:endParaRPr>
          </a:p>
          <a:p>
            <a:pPr marL="742950" lvl="1" indent="-285750" defTabSz="914400">
              <a:lnSpc>
                <a:spcPct val="90000"/>
              </a:lnSpc>
              <a:spcBef>
                <a:spcPts val="1200"/>
              </a:spcBef>
              <a:spcAft>
                <a:spcPts val="200"/>
              </a:spcAft>
              <a:buClr>
                <a:schemeClr val="accent1"/>
              </a:buClr>
              <a:buSzPct val="100000"/>
              <a:buFont typeface="Arial" panose="020B0604020202020204" pitchFamily="34" charset="0"/>
              <a:buChar char="•"/>
            </a:pPr>
            <a:r>
              <a:rPr lang="en-US" dirty="0">
                <a:solidFill>
                  <a:schemeClr val="tx1">
                    <a:lumMod val="75000"/>
                    <a:lumOff val="25000"/>
                  </a:schemeClr>
                </a:solidFill>
                <a:latin typeface="Arial" panose="020B0604020202020204" pitchFamily="34" charset="0"/>
                <a:cs typeface="Arial" panose="020B0604020202020204" pitchFamily="34" charset="0"/>
              </a:rPr>
              <a:t>Adapted from the 44-item READDY 1.0 (Readiness of Emerging Adults with Diabetes Diagnosed in Youth) survey</a:t>
            </a:r>
          </a:p>
          <a:p>
            <a:pPr marL="1200150" lvl="2" indent="-285750" defTabSz="914400">
              <a:lnSpc>
                <a:spcPct val="90000"/>
              </a:lnSpc>
              <a:spcBef>
                <a:spcPts val="1200"/>
              </a:spcBef>
              <a:spcAft>
                <a:spcPts val="200"/>
              </a:spcAft>
              <a:buClr>
                <a:schemeClr val="accent1"/>
              </a:buClr>
              <a:buSzPct val="100000"/>
              <a:buFont typeface="Arial" panose="020B0604020202020204" pitchFamily="34" charset="0"/>
              <a:buChar char="•"/>
            </a:pPr>
            <a:r>
              <a:rPr lang="en-US" dirty="0">
                <a:solidFill>
                  <a:schemeClr val="tx1">
                    <a:lumMod val="75000"/>
                    <a:lumOff val="25000"/>
                  </a:schemeClr>
                </a:solidFill>
                <a:latin typeface="Arial" panose="020B0604020202020204" pitchFamily="34" charset="0"/>
                <a:cs typeface="Arial" panose="020B0604020202020204" pitchFamily="34" charset="0"/>
              </a:rPr>
              <a:t>Assessing patient confidence in transition topics: Diabetes Knowledge, Health System Navigation, Insulin Self-Management, and Health Behaviors</a:t>
            </a:r>
          </a:p>
          <a:p>
            <a:pPr marL="285750" lvl="1" indent="-285750" defTabSz="914400">
              <a:lnSpc>
                <a:spcPct val="90000"/>
              </a:lnSpc>
              <a:spcBef>
                <a:spcPts val="1200"/>
              </a:spcBef>
              <a:spcAft>
                <a:spcPts val="200"/>
              </a:spcAft>
              <a:buClr>
                <a:schemeClr val="accent1"/>
              </a:buClr>
              <a:buSzPct val="100000"/>
              <a:buFont typeface="Arial" panose="020B0604020202020204" pitchFamily="34" charset="0"/>
              <a:buChar char="•"/>
            </a:pPr>
            <a:endParaRPr lang="en-US" dirty="0">
              <a:solidFill>
                <a:schemeClr val="tx1">
                  <a:lumMod val="75000"/>
                  <a:lumOff val="25000"/>
                </a:schemeClr>
              </a:solidFill>
              <a:latin typeface="Arial" panose="020B0604020202020204" pitchFamily="34" charset="0"/>
              <a:cs typeface="Arial" panose="020B0604020202020204" pitchFamily="34" charset="0"/>
            </a:endParaRPr>
          </a:p>
          <a:p>
            <a:pPr marL="285750" lvl="1" indent="-285750" defTabSz="914400">
              <a:lnSpc>
                <a:spcPct val="90000"/>
              </a:lnSpc>
              <a:spcBef>
                <a:spcPts val="1200"/>
              </a:spcBef>
              <a:spcAft>
                <a:spcPts val="200"/>
              </a:spcAft>
              <a:buClr>
                <a:schemeClr val="accent1"/>
              </a:buClr>
              <a:buSzPct val="100000"/>
              <a:buFont typeface="Arial" panose="020B0604020202020204" pitchFamily="34" charset="0"/>
              <a:buChar char="•"/>
            </a:pPr>
            <a:r>
              <a:rPr lang="en-US" dirty="0">
                <a:solidFill>
                  <a:schemeClr val="tx1">
                    <a:lumMod val="75000"/>
                    <a:lumOff val="25000"/>
                  </a:schemeClr>
                </a:solidFill>
                <a:latin typeface="Arial" panose="020B0604020202020204" pitchFamily="34" charset="0"/>
                <a:cs typeface="Arial" panose="020B0604020202020204" pitchFamily="34" charset="0"/>
              </a:rPr>
              <a:t>Lynx survey was divided into two parts:</a:t>
            </a:r>
          </a:p>
          <a:p>
            <a:pPr marL="742950" lvl="2" indent="-285750" defTabSz="914400">
              <a:lnSpc>
                <a:spcPct val="90000"/>
              </a:lnSpc>
              <a:spcBef>
                <a:spcPts val="1200"/>
              </a:spcBef>
              <a:spcAft>
                <a:spcPts val="200"/>
              </a:spcAft>
              <a:buClr>
                <a:schemeClr val="accent1"/>
              </a:buClr>
              <a:buSzPct val="100000"/>
              <a:buFont typeface="Arial" panose="020B0604020202020204" pitchFamily="34" charset="0"/>
              <a:buChar char="•"/>
            </a:pPr>
            <a:r>
              <a:rPr lang="en-US" dirty="0">
                <a:solidFill>
                  <a:schemeClr val="tx1">
                    <a:lumMod val="75000"/>
                    <a:lumOff val="25000"/>
                  </a:schemeClr>
                </a:solidFill>
                <a:latin typeface="Arial" panose="020B0604020202020204" pitchFamily="34" charset="0"/>
                <a:cs typeface="Arial" panose="020B0604020202020204" pitchFamily="34" charset="0"/>
              </a:rPr>
              <a:t>Part 1: basics of diabetes care</a:t>
            </a:r>
          </a:p>
          <a:p>
            <a:pPr marL="742950" lvl="2" indent="-285750" defTabSz="914400">
              <a:lnSpc>
                <a:spcPct val="90000"/>
              </a:lnSpc>
              <a:spcBef>
                <a:spcPts val="1200"/>
              </a:spcBef>
              <a:spcAft>
                <a:spcPts val="200"/>
              </a:spcAft>
              <a:buClr>
                <a:schemeClr val="accent1"/>
              </a:buClr>
              <a:buSzPct val="100000"/>
              <a:buFont typeface="Arial" panose="020B0604020202020204" pitchFamily="34" charset="0"/>
              <a:buChar char="•"/>
            </a:pPr>
            <a:r>
              <a:rPr lang="en-US" dirty="0">
                <a:solidFill>
                  <a:schemeClr val="tx1">
                    <a:lumMod val="75000"/>
                    <a:lumOff val="25000"/>
                  </a:schemeClr>
                </a:solidFill>
                <a:latin typeface="Arial" panose="020B0604020202020204" pitchFamily="34" charset="0"/>
                <a:cs typeface="Arial" panose="020B0604020202020204" pitchFamily="34" charset="0"/>
              </a:rPr>
              <a:t>Part 2: higher level diabetes care</a:t>
            </a:r>
          </a:p>
          <a:p>
            <a:pPr marL="285750" lvl="1" indent="-285750" defTabSz="914400">
              <a:lnSpc>
                <a:spcPct val="90000"/>
              </a:lnSpc>
              <a:spcBef>
                <a:spcPts val="1200"/>
              </a:spcBef>
              <a:spcAft>
                <a:spcPts val="200"/>
              </a:spcAft>
              <a:buClr>
                <a:schemeClr val="accent1"/>
              </a:buClr>
              <a:buSzPct val="100000"/>
              <a:buFont typeface="Arial" panose="020B0604020202020204" pitchFamily="34" charset="0"/>
              <a:buChar char="•"/>
            </a:pPr>
            <a:endParaRPr lang="en-US" dirty="0">
              <a:solidFill>
                <a:schemeClr val="tx1">
                  <a:lumMod val="75000"/>
                  <a:lumOff val="25000"/>
                </a:schemeClr>
              </a:solidFill>
              <a:latin typeface="Arial" panose="020B0604020202020204" pitchFamily="34" charset="0"/>
              <a:cs typeface="Arial" panose="020B0604020202020204" pitchFamily="34" charset="0"/>
            </a:endParaRPr>
          </a:p>
          <a:p>
            <a:pPr marL="285750" lvl="1" indent="-285750" defTabSz="914400">
              <a:lnSpc>
                <a:spcPct val="90000"/>
              </a:lnSpc>
              <a:spcBef>
                <a:spcPts val="1200"/>
              </a:spcBef>
              <a:spcAft>
                <a:spcPts val="200"/>
              </a:spcAft>
              <a:buClr>
                <a:schemeClr val="accent1"/>
              </a:buClr>
              <a:buSzPct val="100000"/>
              <a:buFont typeface="Arial" panose="020B0604020202020204" pitchFamily="34" charset="0"/>
              <a:buChar char="•"/>
            </a:pPr>
            <a:r>
              <a:rPr lang="en-US" dirty="0">
                <a:solidFill>
                  <a:schemeClr val="tx1">
                    <a:lumMod val="75000"/>
                    <a:lumOff val="25000"/>
                  </a:schemeClr>
                </a:solidFill>
                <a:latin typeface="Arial" panose="020B0604020202020204" pitchFamily="34" charset="0"/>
                <a:cs typeface="Arial" panose="020B0604020202020204" pitchFamily="34" charset="0"/>
              </a:rPr>
              <a:t>Each part administered at check-in for routine appointments on a yearly basis from age 16 years until transition to adult care</a:t>
            </a:r>
          </a:p>
        </p:txBody>
      </p:sp>
      <p:pic>
        <p:nvPicPr>
          <p:cNvPr id="2" name="Picture 1">
            <a:extLst>
              <a:ext uri="{FF2B5EF4-FFF2-40B4-BE49-F238E27FC236}">
                <a16:creationId xmlns:a16="http://schemas.microsoft.com/office/drawing/2014/main" id="{83E90F3C-33CA-BCB7-0742-DC2CA56D1E66}"/>
              </a:ext>
            </a:extLst>
          </p:cNvPr>
          <p:cNvPicPr>
            <a:picLocks noChangeAspect="1"/>
          </p:cNvPicPr>
          <p:nvPr/>
        </p:nvPicPr>
        <p:blipFill>
          <a:blip r:embed="rId3"/>
          <a:stretch>
            <a:fillRect/>
          </a:stretch>
        </p:blipFill>
        <p:spPr>
          <a:xfrm>
            <a:off x="6897511" y="1356798"/>
            <a:ext cx="4937760" cy="3789729"/>
          </a:xfrm>
          <a:prstGeom prst="rect">
            <a:avLst/>
          </a:prstGeom>
          <a:noFill/>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52400"/>
            <a:ext cx="8229600" cy="792162"/>
          </a:xfrm>
        </p:spPr>
        <p:txBody>
          <a:bodyPr anchor="b">
            <a:normAutofit/>
          </a:bodyPr>
          <a:lstStyle/>
          <a:p>
            <a:r>
              <a:rPr lang="en-US" dirty="0"/>
              <a:t>Introduction</a:t>
            </a:r>
          </a:p>
        </p:txBody>
      </p:sp>
      <p:sp>
        <p:nvSpPr>
          <p:cNvPr id="3" name="Content Placeholder 2"/>
          <p:cNvSpPr>
            <a:spLocks noGrp="1"/>
          </p:cNvSpPr>
          <p:nvPr>
            <p:ph idx="1"/>
          </p:nvPr>
        </p:nvSpPr>
        <p:spPr>
          <a:xfrm>
            <a:off x="1981200" y="1173162"/>
            <a:ext cx="8229600" cy="5075238"/>
          </a:xfrm>
        </p:spPr>
        <p:txBody>
          <a:bodyPr>
            <a:normAutofit/>
          </a:bodyPr>
          <a:lstStyle/>
          <a:p>
            <a:pPr marL="0" indent="0">
              <a:lnSpc>
                <a:spcPct val="90000"/>
              </a:lnSpc>
              <a:spcBef>
                <a:spcPts val="550"/>
              </a:spcBef>
              <a:spcAft>
                <a:spcPts val="100"/>
              </a:spcAft>
              <a:buNone/>
            </a:pPr>
            <a:r>
              <a:rPr lang="en-US" b="1" dirty="0"/>
              <a:t>Problem: </a:t>
            </a:r>
            <a:r>
              <a:rPr lang="en-US" dirty="0"/>
              <a:t>Adolescents and young adults (AYAs) with diabetes mellitus (DM) experience worse outcomes during pediatric to adult healthcare transition (HCT)</a:t>
            </a:r>
            <a:r>
              <a:rPr lang="en-US" baseline="30000" dirty="0"/>
              <a:t>1</a:t>
            </a:r>
            <a:r>
              <a:rPr lang="en-US" dirty="0"/>
              <a:t>​</a:t>
            </a:r>
          </a:p>
          <a:p>
            <a:pPr marL="0" indent="0">
              <a:lnSpc>
                <a:spcPct val="90000"/>
              </a:lnSpc>
              <a:spcBef>
                <a:spcPts val="550"/>
              </a:spcBef>
              <a:spcAft>
                <a:spcPts val="100"/>
              </a:spcAft>
              <a:buNone/>
            </a:pPr>
            <a:endParaRPr lang="en-US" dirty="0"/>
          </a:p>
          <a:p>
            <a:pPr marL="0" indent="0">
              <a:lnSpc>
                <a:spcPct val="90000"/>
              </a:lnSpc>
              <a:spcBef>
                <a:spcPts val="550"/>
              </a:spcBef>
              <a:spcAft>
                <a:spcPts val="100"/>
              </a:spcAft>
              <a:buNone/>
            </a:pPr>
            <a:r>
              <a:rPr lang="en-US" b="1" dirty="0"/>
              <a:t>Gap: </a:t>
            </a:r>
            <a:r>
              <a:rPr lang="en-US" dirty="0"/>
              <a:t>Guideline-recommended HCT planning is inconsistently performed by providers</a:t>
            </a:r>
            <a:r>
              <a:rPr lang="en-US" baseline="30000" dirty="0"/>
              <a:t>2,3​</a:t>
            </a:r>
          </a:p>
          <a:p>
            <a:pPr marL="0" indent="0">
              <a:lnSpc>
                <a:spcPct val="90000"/>
              </a:lnSpc>
              <a:spcBef>
                <a:spcPts val="550"/>
              </a:spcBef>
              <a:spcAft>
                <a:spcPts val="100"/>
              </a:spcAft>
              <a:buNone/>
            </a:pPr>
            <a:endParaRPr lang="en-US" dirty="0"/>
          </a:p>
          <a:p>
            <a:pPr marL="0" indent="0">
              <a:lnSpc>
                <a:spcPct val="90000"/>
              </a:lnSpc>
              <a:spcBef>
                <a:spcPts val="550"/>
              </a:spcBef>
              <a:spcAft>
                <a:spcPts val="100"/>
              </a:spcAft>
              <a:buNone/>
            </a:pPr>
            <a:r>
              <a:rPr lang="en-US" b="1" dirty="0"/>
              <a:t>Opportunity: </a:t>
            </a:r>
            <a:r>
              <a:rPr lang="en-US" dirty="0"/>
              <a:t>Electronic medical record (EMR) tools can improve adherence to clinical guidelines</a:t>
            </a:r>
            <a:r>
              <a:rPr lang="en-US" baseline="30000" dirty="0"/>
              <a:t>4</a:t>
            </a:r>
            <a:r>
              <a:rPr lang="en-US" dirty="0"/>
              <a:t>​</a:t>
            </a:r>
          </a:p>
          <a:p>
            <a:pPr marL="0" indent="0">
              <a:lnSpc>
                <a:spcPct val="90000"/>
              </a:lnSpc>
              <a:spcBef>
                <a:spcPts val="550"/>
              </a:spcBef>
              <a:spcAft>
                <a:spcPts val="100"/>
              </a:spcAft>
              <a:buNone/>
            </a:pPr>
            <a:endParaRPr lang="en-US" dirty="0"/>
          </a:p>
          <a:p>
            <a:pPr marL="0" indent="0">
              <a:lnSpc>
                <a:spcPct val="90000"/>
              </a:lnSpc>
              <a:spcBef>
                <a:spcPts val="550"/>
              </a:spcBef>
              <a:spcAft>
                <a:spcPts val="100"/>
              </a:spcAft>
              <a:buNone/>
            </a:pPr>
            <a:r>
              <a:rPr lang="en-US" b="1" dirty="0"/>
              <a:t>Objective: </a:t>
            </a:r>
            <a:r>
              <a:rPr lang="en-US" dirty="0"/>
              <a:t>Use a Plan-Do-Study-Act (PDSA) approach to increase provider use of a new EMR HCT tool from 0% to 50% in 12 months​</a:t>
            </a:r>
          </a:p>
        </p:txBody>
      </p:sp>
      <p:sp>
        <p:nvSpPr>
          <p:cNvPr id="4" name="Slide Number Placeholder 3"/>
          <p:cNvSpPr>
            <a:spLocks noGrp="1"/>
          </p:cNvSpPr>
          <p:nvPr>
            <p:ph type="sldNum" sz="quarter" idx="4"/>
          </p:nvPr>
        </p:nvSpPr>
        <p:spPr>
          <a:xfrm>
            <a:off x="9448800" y="6383180"/>
            <a:ext cx="762000" cy="246221"/>
          </a:xfrm>
        </p:spPr>
        <p:txBody>
          <a:bodyPr>
            <a:normAutofit/>
          </a:bodyPr>
          <a:lstStyle/>
          <a:p>
            <a:pPr>
              <a:spcAft>
                <a:spcPts val="600"/>
              </a:spcAft>
            </a:pPr>
            <a:fld id="{B6761BED-127F-4714-AE70-548270172845}" type="slidenum">
              <a:rPr lang="en-US" smtClean="0">
                <a:solidFill>
                  <a:schemeClr val="bg1">
                    <a:lumMod val="65000"/>
                  </a:schemeClr>
                </a:solidFill>
              </a:rPr>
              <a:pPr>
                <a:spcAft>
                  <a:spcPts val="600"/>
                </a:spcAft>
              </a:pPr>
              <a:t>3</a:t>
            </a:fld>
            <a:endParaRPr lang="en-US">
              <a:solidFill>
                <a:schemeClr val="bg1">
                  <a:lumMod val="65000"/>
                </a:schemeClr>
              </a:solidFill>
            </a:endParaRPr>
          </a:p>
        </p:txBody>
      </p:sp>
    </p:spTree>
    <p:extLst>
      <p:ext uri="{BB962C8B-B14F-4D97-AF65-F5344CB8AC3E}">
        <p14:creationId xmlns:p14="http://schemas.microsoft.com/office/powerpoint/2010/main" val="2721087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ChangeArrowheads="1"/>
          </p:cNvSpPr>
          <p:nvPr>
            <p:ph type="title"/>
          </p:nvPr>
        </p:nvSpPr>
        <p:spPr>
          <a:xfrm>
            <a:off x="424218" y="100082"/>
            <a:ext cx="8610600" cy="734552"/>
          </a:xfrm>
        </p:spPr>
        <p:txBody>
          <a:bodyPr>
            <a:normAutofit/>
          </a:bodyPr>
          <a:lstStyle/>
          <a:p>
            <a:pPr algn="l" eaLnBrk="1" hangingPunct="1"/>
            <a:r>
              <a:rPr lang="en-US" sz="3600" b="1" dirty="0">
                <a:latin typeface="Arial" panose="020B0604020202020204" pitchFamily="34" charset="0"/>
                <a:cs typeface="Arial" panose="020B0604020202020204" pitchFamily="34" charset="0"/>
              </a:rPr>
              <a:t>Methods: Patient-Identified Topics</a:t>
            </a:r>
          </a:p>
        </p:txBody>
      </p:sp>
      <p:sp>
        <p:nvSpPr>
          <p:cNvPr id="3" name="TextBox 2"/>
          <p:cNvSpPr txBox="1"/>
          <p:nvPr/>
        </p:nvSpPr>
        <p:spPr>
          <a:xfrm>
            <a:off x="424218" y="982176"/>
            <a:ext cx="4328404" cy="4524315"/>
          </a:xfrm>
          <a:prstGeom prst="rect">
            <a:avLst/>
          </a:prstGeom>
          <a:noFill/>
        </p:spPr>
        <p:txBody>
          <a:bodyPr wrap="square" rtlCol="0">
            <a:spAutoFit/>
          </a:bodyPr>
          <a:lstStyle/>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Each question is assigned a key word/phrase</a:t>
            </a:r>
          </a:p>
          <a:p>
            <a:endParaRPr lang="en-US" sz="24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Topics not rated “Yes, I can do this” are included in the note template as a conversation prompt for providers</a:t>
            </a:r>
          </a:p>
          <a:p>
            <a:endParaRPr lang="en-US" sz="24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Patient responses from the last 12 months were pulled from the EHR</a:t>
            </a:r>
          </a:p>
        </p:txBody>
      </p:sp>
      <p:pic>
        <p:nvPicPr>
          <p:cNvPr id="4" name="Picture 3">
            <a:extLst>
              <a:ext uri="{FF2B5EF4-FFF2-40B4-BE49-F238E27FC236}">
                <a16:creationId xmlns:a16="http://schemas.microsoft.com/office/drawing/2014/main" id="{5F91BCEB-20D2-D85F-D41F-D5F122410622}"/>
              </a:ext>
            </a:extLst>
          </p:cNvPr>
          <p:cNvPicPr>
            <a:picLocks noChangeAspect="1"/>
          </p:cNvPicPr>
          <p:nvPr/>
        </p:nvPicPr>
        <p:blipFill>
          <a:blip r:embed="rId4"/>
          <a:stretch>
            <a:fillRect/>
          </a:stretch>
        </p:blipFill>
        <p:spPr>
          <a:xfrm>
            <a:off x="5005877" y="3754747"/>
            <a:ext cx="6809885" cy="1644267"/>
          </a:xfrm>
          <a:prstGeom prst="rect">
            <a:avLst/>
          </a:prstGeom>
        </p:spPr>
      </p:pic>
      <p:pic>
        <p:nvPicPr>
          <p:cNvPr id="5" name="Picture 4" descr="A screenshot of a survey&#10;&#10;Description automatically generated">
            <a:extLst>
              <a:ext uri="{FF2B5EF4-FFF2-40B4-BE49-F238E27FC236}">
                <a16:creationId xmlns:a16="http://schemas.microsoft.com/office/drawing/2014/main" id="{810A1862-AE5D-5D46-C75E-110E1E82C58D}"/>
              </a:ext>
            </a:extLst>
          </p:cNvPr>
          <p:cNvPicPr>
            <a:picLocks noChangeAspect="1"/>
          </p:cNvPicPr>
          <p:nvPr/>
        </p:nvPicPr>
        <p:blipFill rotWithShape="1">
          <a:blip r:embed="rId5"/>
          <a:srcRect t="43390"/>
          <a:stretch/>
        </p:blipFill>
        <p:spPr bwMode="auto">
          <a:xfrm>
            <a:off x="5005877" y="1330333"/>
            <a:ext cx="4080510" cy="1772920"/>
          </a:xfrm>
          <a:prstGeom prst="rect">
            <a:avLst/>
          </a:prstGeom>
          <a:noFill/>
          <a:ln>
            <a:noFill/>
          </a:ln>
          <a:extLst>
            <a:ext uri="{53640926-AAD7-44D8-BBD7-CCE9431645EC}">
              <a14:shadowObscured xmlns:a14="http://schemas.microsoft.com/office/drawing/2010/main"/>
            </a:ext>
          </a:extLst>
        </p:spPr>
      </p:pic>
      <p:sp>
        <p:nvSpPr>
          <p:cNvPr id="6" name="Right Arrow 5">
            <a:extLst>
              <a:ext uri="{FF2B5EF4-FFF2-40B4-BE49-F238E27FC236}">
                <a16:creationId xmlns:a16="http://schemas.microsoft.com/office/drawing/2014/main" id="{53498DE8-BCC2-C87F-DE45-0C497A143D37}"/>
              </a:ext>
            </a:extLst>
          </p:cNvPr>
          <p:cNvSpPr/>
          <p:nvPr/>
        </p:nvSpPr>
        <p:spPr>
          <a:xfrm>
            <a:off x="9174536" y="1450030"/>
            <a:ext cx="738097" cy="110479"/>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9" name="Right Arrow 8">
            <a:extLst>
              <a:ext uri="{FF2B5EF4-FFF2-40B4-BE49-F238E27FC236}">
                <a16:creationId xmlns:a16="http://schemas.microsoft.com/office/drawing/2014/main" id="{B98D3039-88CB-B851-0E6F-45D317F7F44C}"/>
              </a:ext>
            </a:extLst>
          </p:cNvPr>
          <p:cNvSpPr/>
          <p:nvPr/>
        </p:nvSpPr>
        <p:spPr>
          <a:xfrm>
            <a:off x="9174538" y="2525758"/>
            <a:ext cx="802346" cy="366298"/>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BDC8D54D-C581-C01F-C555-493F7E4041C8}"/>
              </a:ext>
            </a:extLst>
          </p:cNvPr>
          <p:cNvSpPr txBox="1"/>
          <p:nvPr/>
        </p:nvSpPr>
        <p:spPr>
          <a:xfrm>
            <a:off x="10179351" y="1335992"/>
            <a:ext cx="1688117"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omplications</a:t>
            </a:r>
          </a:p>
        </p:txBody>
      </p:sp>
      <p:sp>
        <p:nvSpPr>
          <p:cNvPr id="11" name="TextBox 10">
            <a:extLst>
              <a:ext uri="{FF2B5EF4-FFF2-40B4-BE49-F238E27FC236}">
                <a16:creationId xmlns:a16="http://schemas.microsoft.com/office/drawing/2014/main" id="{F5E1F803-0A96-A3D4-AD07-DAF7E7024520}"/>
              </a:ext>
            </a:extLst>
          </p:cNvPr>
          <p:cNvSpPr txBox="1"/>
          <p:nvPr/>
        </p:nvSpPr>
        <p:spPr>
          <a:xfrm>
            <a:off x="10179352" y="1673876"/>
            <a:ext cx="1688117"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Alcohol</a:t>
            </a:r>
          </a:p>
        </p:txBody>
      </p:sp>
      <p:sp>
        <p:nvSpPr>
          <p:cNvPr id="12" name="TextBox 11">
            <a:extLst>
              <a:ext uri="{FF2B5EF4-FFF2-40B4-BE49-F238E27FC236}">
                <a16:creationId xmlns:a16="http://schemas.microsoft.com/office/drawing/2014/main" id="{909633F3-0EA2-F4DC-3809-E2DE0DCAD116}"/>
              </a:ext>
            </a:extLst>
          </p:cNvPr>
          <p:cNvSpPr txBox="1"/>
          <p:nvPr/>
        </p:nvSpPr>
        <p:spPr>
          <a:xfrm>
            <a:off x="10179352" y="2048838"/>
            <a:ext cx="1688117"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Tobacco</a:t>
            </a:r>
          </a:p>
        </p:txBody>
      </p:sp>
      <p:sp>
        <p:nvSpPr>
          <p:cNvPr id="13" name="TextBox 12">
            <a:extLst>
              <a:ext uri="{FF2B5EF4-FFF2-40B4-BE49-F238E27FC236}">
                <a16:creationId xmlns:a16="http://schemas.microsoft.com/office/drawing/2014/main" id="{6CA0387B-4293-3A2B-D294-3131FCCF2F60}"/>
              </a:ext>
            </a:extLst>
          </p:cNvPr>
          <p:cNvSpPr txBox="1"/>
          <p:nvPr/>
        </p:nvSpPr>
        <p:spPr>
          <a:xfrm>
            <a:off x="10179352" y="2519078"/>
            <a:ext cx="1688117"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Sex/pregnancy</a:t>
            </a:r>
          </a:p>
        </p:txBody>
      </p:sp>
      <p:sp>
        <p:nvSpPr>
          <p:cNvPr id="14" name="Right Arrow 13">
            <a:extLst>
              <a:ext uri="{FF2B5EF4-FFF2-40B4-BE49-F238E27FC236}">
                <a16:creationId xmlns:a16="http://schemas.microsoft.com/office/drawing/2014/main" id="{4EC474DD-1233-DCAD-07A1-B3B4BC284804}"/>
              </a:ext>
            </a:extLst>
          </p:cNvPr>
          <p:cNvSpPr/>
          <p:nvPr/>
        </p:nvSpPr>
        <p:spPr>
          <a:xfrm>
            <a:off x="9174535" y="1792113"/>
            <a:ext cx="738097" cy="110479"/>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5" name="Right Arrow 14">
            <a:extLst>
              <a:ext uri="{FF2B5EF4-FFF2-40B4-BE49-F238E27FC236}">
                <a16:creationId xmlns:a16="http://schemas.microsoft.com/office/drawing/2014/main" id="{F21BACF5-C010-BF9E-AE61-0C7C4C70A17E}"/>
              </a:ext>
            </a:extLst>
          </p:cNvPr>
          <p:cNvSpPr/>
          <p:nvPr/>
        </p:nvSpPr>
        <p:spPr>
          <a:xfrm>
            <a:off x="9174534" y="2158935"/>
            <a:ext cx="738097" cy="110479"/>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469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p:bldP spid="11" grpId="0"/>
      <p:bldP spid="12" grpId="0"/>
      <p:bldP spid="13" grpId="0"/>
      <p:bldP spid="14" grpId="0" animBg="1"/>
      <p:bldP spid="15" grpId="0" animBg="1"/>
    </p:bldLst>
  </p:timing>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ChangeArrowheads="1"/>
          </p:cNvSpPr>
          <p:nvPr>
            <p:ph type="title"/>
          </p:nvPr>
        </p:nvSpPr>
        <p:spPr>
          <a:xfrm>
            <a:off x="424218" y="0"/>
            <a:ext cx="8610600" cy="734552"/>
          </a:xfrm>
        </p:spPr>
        <p:txBody>
          <a:bodyPr>
            <a:normAutofit/>
          </a:bodyPr>
          <a:lstStyle/>
          <a:p>
            <a:pPr algn="l" eaLnBrk="1" hangingPunct="1"/>
            <a:r>
              <a:rPr lang="en-US" sz="3600" b="1" dirty="0">
                <a:latin typeface="Arial" panose="020B0604020202020204" pitchFamily="34" charset="0"/>
                <a:cs typeface="Arial" panose="020B0604020202020204" pitchFamily="34" charset="0"/>
              </a:rPr>
              <a:t>Methods: Transition Topics Discussed</a:t>
            </a:r>
          </a:p>
        </p:txBody>
      </p:sp>
      <p:sp>
        <p:nvSpPr>
          <p:cNvPr id="6" name="TextBox 5"/>
          <p:cNvSpPr txBox="1"/>
          <p:nvPr/>
        </p:nvSpPr>
        <p:spPr>
          <a:xfrm>
            <a:off x="636252" y="1410411"/>
            <a:ext cx="5088686" cy="3046988"/>
          </a:xfrm>
          <a:prstGeom prst="rect">
            <a:avLst/>
          </a:prstGeom>
          <a:noFill/>
        </p:spPr>
        <p:txBody>
          <a:bodyPr wrap="square" rtlCol="0">
            <a:spAutoFit/>
          </a:bodyPr>
          <a:lstStyle/>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Drop down list in the note template allows providers to document what transition topics were discussed during that visit </a:t>
            </a:r>
          </a:p>
          <a:p>
            <a:endParaRPr lang="en-US" sz="24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Discussed topics were pulled from notes from the last 12 months from the EHR</a:t>
            </a:r>
          </a:p>
        </p:txBody>
      </p:sp>
      <p:pic>
        <p:nvPicPr>
          <p:cNvPr id="2" name="Picture 1">
            <a:extLst>
              <a:ext uri="{FF2B5EF4-FFF2-40B4-BE49-F238E27FC236}">
                <a16:creationId xmlns:a16="http://schemas.microsoft.com/office/drawing/2014/main" id="{1DF11CE0-CB6F-92D7-A1C0-E87FA1B636E5}"/>
              </a:ext>
            </a:extLst>
          </p:cNvPr>
          <p:cNvPicPr>
            <a:picLocks noChangeAspect="1"/>
          </p:cNvPicPr>
          <p:nvPr/>
        </p:nvPicPr>
        <p:blipFill>
          <a:blip r:embed="rId3"/>
          <a:stretch>
            <a:fillRect/>
          </a:stretch>
        </p:blipFill>
        <p:spPr>
          <a:xfrm>
            <a:off x="6467064" y="989732"/>
            <a:ext cx="4424389" cy="4380787"/>
          </a:xfrm>
          <a:prstGeom prst="rect">
            <a:avLst/>
          </a:prstGeom>
        </p:spPr>
      </p:pic>
    </p:spTree>
    <p:extLst>
      <p:ext uri="{BB962C8B-B14F-4D97-AF65-F5344CB8AC3E}">
        <p14:creationId xmlns:p14="http://schemas.microsoft.com/office/powerpoint/2010/main" val="39739533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9EC0D-E02D-138A-A3E8-2E12BDB8C802}"/>
              </a:ext>
            </a:extLst>
          </p:cNvPr>
          <p:cNvSpPr>
            <a:spLocks noGrp="1"/>
          </p:cNvSpPr>
          <p:nvPr>
            <p:ph type="title"/>
          </p:nvPr>
        </p:nvSpPr>
        <p:spPr>
          <a:xfrm>
            <a:off x="457200" y="594359"/>
            <a:ext cx="3200400" cy="583277"/>
          </a:xfrm>
        </p:spPr>
        <p:txBody>
          <a:bodyPr vert="horz" lIns="91440" tIns="45720" rIns="91440" bIns="45720" rtlCol="0" anchor="b">
            <a:normAutofit/>
          </a:bodyPr>
          <a:lstStyle/>
          <a:p>
            <a:r>
              <a:rPr lang="en-US" b="0" kern="1200" spc="-50" baseline="0" dirty="0">
                <a:latin typeface="+mj-lt"/>
                <a:ea typeface="+mj-ea"/>
                <a:cs typeface="+mj-cs"/>
              </a:rPr>
              <a:t>Results: </a:t>
            </a:r>
          </a:p>
        </p:txBody>
      </p:sp>
      <p:sp>
        <p:nvSpPr>
          <p:cNvPr id="6" name="TextBox 5">
            <a:extLst>
              <a:ext uri="{FF2B5EF4-FFF2-40B4-BE49-F238E27FC236}">
                <a16:creationId xmlns:a16="http://schemas.microsoft.com/office/drawing/2014/main" id="{7915D45E-9341-F6F4-1CE6-1454DA67A27E}"/>
              </a:ext>
            </a:extLst>
          </p:cNvPr>
          <p:cNvSpPr txBox="1"/>
          <p:nvPr/>
        </p:nvSpPr>
        <p:spPr>
          <a:xfrm>
            <a:off x="457200" y="1177636"/>
            <a:ext cx="3200400" cy="4717217"/>
          </a:xfrm>
          <a:prstGeom prst="rect">
            <a:avLst/>
          </a:prstGeom>
        </p:spPr>
        <p:txBody>
          <a:bodyPr vert="horz" lIns="91440" tIns="45720" rIns="91440" bIns="45720" rtlCol="0">
            <a:normAutofit/>
          </a:bodyPr>
          <a:lstStyle/>
          <a:p>
            <a:pPr defTabSz="914400">
              <a:lnSpc>
                <a:spcPct val="90000"/>
              </a:lnSpc>
              <a:spcBef>
                <a:spcPts val="1200"/>
              </a:spcBef>
              <a:spcAft>
                <a:spcPts val="200"/>
              </a:spcAft>
              <a:buClr>
                <a:schemeClr val="accent1"/>
              </a:buClr>
              <a:buSzPct val="100000"/>
            </a:pPr>
            <a:r>
              <a:rPr lang="en-US" sz="2000" kern="1200" dirty="0">
                <a:solidFill>
                  <a:srgbClr val="FFFFFF"/>
                </a:solidFill>
                <a:latin typeface="+mn-lt"/>
                <a:ea typeface="+mn-ea"/>
                <a:cs typeface="+mn-cs"/>
              </a:rPr>
              <a:t>Part 1: 1087 patients with 789 (72.3%) identifying at least one topic of concern</a:t>
            </a:r>
          </a:p>
          <a:p>
            <a:pPr defTabSz="914400">
              <a:lnSpc>
                <a:spcPct val="90000"/>
              </a:lnSpc>
              <a:spcBef>
                <a:spcPts val="1200"/>
              </a:spcBef>
              <a:spcAft>
                <a:spcPts val="200"/>
              </a:spcAft>
              <a:buClr>
                <a:schemeClr val="accent1"/>
              </a:buClr>
              <a:buSzPct val="100000"/>
            </a:pPr>
            <a:r>
              <a:rPr lang="en-US" sz="2000" kern="1200" dirty="0">
                <a:solidFill>
                  <a:srgbClr val="FFFFFF"/>
                </a:solidFill>
                <a:latin typeface="+mn-lt"/>
                <a:ea typeface="+mn-ea"/>
                <a:cs typeface="+mn-cs"/>
              </a:rPr>
              <a:t>Part 2: 387 patients with 320  (82.7%) identifying at least one topic of concern</a:t>
            </a:r>
          </a:p>
          <a:p>
            <a:pPr defTabSz="914400">
              <a:lnSpc>
                <a:spcPct val="90000"/>
              </a:lnSpc>
              <a:spcBef>
                <a:spcPts val="1200"/>
              </a:spcBef>
              <a:spcAft>
                <a:spcPts val="200"/>
              </a:spcAft>
              <a:buClr>
                <a:schemeClr val="accent1"/>
              </a:buClr>
              <a:buSzPct val="100000"/>
            </a:pPr>
            <a:r>
              <a:rPr lang="en-US" sz="2000" kern="1200" dirty="0">
                <a:solidFill>
                  <a:srgbClr val="FFFFFF"/>
                </a:solidFill>
                <a:latin typeface="+mn-lt"/>
                <a:ea typeface="+mn-ea"/>
                <a:cs typeface="+mn-cs"/>
              </a:rPr>
              <a:t>Patients requested help across most transition topics</a:t>
            </a:r>
          </a:p>
          <a:p>
            <a:pPr defTabSz="914400">
              <a:lnSpc>
                <a:spcPct val="90000"/>
              </a:lnSpc>
              <a:spcBef>
                <a:spcPts val="1200"/>
              </a:spcBef>
              <a:spcAft>
                <a:spcPts val="200"/>
              </a:spcAft>
              <a:buClr>
                <a:schemeClr val="accent1"/>
              </a:buClr>
              <a:buSzPct val="100000"/>
            </a:pPr>
            <a:r>
              <a:rPr lang="en-US" sz="2000" dirty="0">
                <a:solidFill>
                  <a:srgbClr val="FFFFFF"/>
                </a:solidFill>
              </a:rPr>
              <a:t>Provider discussions focused primarily on routine diabetes management</a:t>
            </a:r>
          </a:p>
          <a:p>
            <a:pPr defTabSz="914400">
              <a:lnSpc>
                <a:spcPct val="90000"/>
              </a:lnSpc>
              <a:spcBef>
                <a:spcPts val="1200"/>
              </a:spcBef>
              <a:spcAft>
                <a:spcPts val="200"/>
              </a:spcAft>
              <a:buClr>
                <a:schemeClr val="accent1"/>
              </a:buClr>
              <a:buSzPct val="100000"/>
            </a:pPr>
            <a:r>
              <a:rPr lang="en-US" sz="2000" kern="1200" dirty="0">
                <a:solidFill>
                  <a:srgbClr val="FFFFFF"/>
                </a:solidFill>
                <a:latin typeface="+mn-lt"/>
                <a:ea typeface="+mn-ea"/>
                <a:cs typeface="+mn-cs"/>
              </a:rPr>
              <a:t>Largest gaps were seen in substance use, sex, and insurance</a:t>
            </a:r>
          </a:p>
        </p:txBody>
      </p:sp>
      <p:graphicFrame>
        <p:nvGraphicFramePr>
          <p:cNvPr id="7" name="Chart 6">
            <a:extLst>
              <a:ext uri="{FF2B5EF4-FFF2-40B4-BE49-F238E27FC236}">
                <a16:creationId xmlns:a16="http://schemas.microsoft.com/office/drawing/2014/main" id="{C3AE4AEA-136E-B8F8-F93A-3709992FFF2D}"/>
              </a:ext>
            </a:extLst>
          </p:cNvPr>
          <p:cNvGraphicFramePr/>
          <p:nvPr/>
        </p:nvGraphicFramePr>
        <p:xfrm>
          <a:off x="4800600" y="731520"/>
          <a:ext cx="6492240" cy="5257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671266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532264" y="313364"/>
            <a:ext cx="8229600" cy="1096963"/>
          </a:xfrm>
        </p:spPr>
        <p:txBody>
          <a:bodyPr/>
          <a:lstStyle/>
          <a:p>
            <a:pPr algn="l" eaLnBrk="1" hangingPunct="1"/>
            <a:r>
              <a:rPr lang="en-US" b="1" dirty="0">
                <a:solidFill>
                  <a:schemeClr val="tx1"/>
                </a:solidFill>
                <a:latin typeface="Arial" panose="020B0604020202020204" pitchFamily="34" charset="0"/>
                <a:cs typeface="Arial" panose="020B0604020202020204" pitchFamily="34" charset="0"/>
              </a:rPr>
              <a:t>Conclusions</a:t>
            </a:r>
          </a:p>
        </p:txBody>
      </p:sp>
      <p:sp>
        <p:nvSpPr>
          <p:cNvPr id="22530" name="Rectangle 3"/>
          <p:cNvSpPr>
            <a:spLocks noGrp="1" noChangeArrowheads="1"/>
          </p:cNvSpPr>
          <p:nvPr>
            <p:ph type="body" idx="1"/>
          </p:nvPr>
        </p:nvSpPr>
        <p:spPr>
          <a:xfrm>
            <a:off x="532263" y="1778817"/>
            <a:ext cx="11395129" cy="4252357"/>
          </a:xfrm>
        </p:spPr>
        <p:txBody>
          <a:bodyPr>
            <a:normAutofit/>
          </a:bodyPr>
          <a:lstStyle/>
          <a:p>
            <a:pPr eaLnBrk="1" hangingPunct="1">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Despite EHR prompts, providers infrequently cover key components of emerging adult care, likely due to:</a:t>
            </a:r>
          </a:p>
          <a:p>
            <a:pPr lvl="1">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The need to cover many topics in a limited appointment time</a:t>
            </a:r>
          </a:p>
          <a:p>
            <a:pPr lvl="1">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Lack of familiarity with these topics by pediatric providers</a:t>
            </a:r>
          </a:p>
          <a:p>
            <a:pPr eaLnBrk="1" hangingPunct="1">
              <a:buFont typeface="Arial" panose="020B0604020202020204" pitchFamily="34" charset="0"/>
              <a:buChar char="•"/>
            </a:pPr>
            <a:endParaRPr lang="en-US" sz="2400" dirty="0">
              <a:solidFill>
                <a:schemeClr val="tx1"/>
              </a:solidFill>
              <a:latin typeface="Arial" panose="020B0604020202020204" pitchFamily="34" charset="0"/>
              <a:cs typeface="Arial" panose="020B0604020202020204" pitchFamily="34" charset="0"/>
            </a:endParaRPr>
          </a:p>
          <a:p>
            <a:pPr eaLnBrk="1" hangingPunct="1">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Despite these concerns, it is imperative that these topics are covered regularly, given the frequent engagement in these higher risk behaviors</a:t>
            </a:r>
          </a:p>
        </p:txBody>
      </p:sp>
    </p:spTree>
    <p:extLst>
      <p:ext uri="{BB962C8B-B14F-4D97-AF65-F5344CB8AC3E}">
        <p14:creationId xmlns:p14="http://schemas.microsoft.com/office/powerpoint/2010/main" val="870660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53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53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53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53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457200" y="300848"/>
            <a:ext cx="3200400" cy="1142077"/>
          </a:xfrm>
        </p:spPr>
        <p:txBody>
          <a:bodyPr anchor="b">
            <a:normAutofit/>
          </a:bodyPr>
          <a:lstStyle/>
          <a:p>
            <a:pPr eaLnBrk="1" hangingPunct="1"/>
            <a:r>
              <a:rPr lang="en-US" b="1" dirty="0">
                <a:latin typeface="Arial" panose="020B0604020202020204" pitchFamily="34" charset="0"/>
                <a:cs typeface="Arial" panose="020B0604020202020204" pitchFamily="34" charset="0"/>
              </a:rPr>
              <a:t>COMPASS Curriculum</a:t>
            </a:r>
          </a:p>
        </p:txBody>
      </p:sp>
      <p:pic>
        <p:nvPicPr>
          <p:cNvPr id="4" name="Content Placeholder 3">
            <a:extLst>
              <a:ext uri="{FF2B5EF4-FFF2-40B4-BE49-F238E27FC236}">
                <a16:creationId xmlns:a16="http://schemas.microsoft.com/office/drawing/2014/main" id="{050D05A1-2BBE-1A92-CE2E-6ABA4A22F472}"/>
              </a:ext>
            </a:extLst>
          </p:cNvPr>
          <p:cNvPicPr>
            <a:picLocks noGrp="1" noChangeAspect="1"/>
          </p:cNvPicPr>
          <p:nvPr>
            <p:ph idx="1"/>
          </p:nvPr>
        </p:nvPicPr>
        <p:blipFill>
          <a:blip r:embed="rId3"/>
          <a:stretch>
            <a:fillRect/>
          </a:stretch>
        </p:blipFill>
        <p:spPr>
          <a:xfrm>
            <a:off x="5509832" y="731520"/>
            <a:ext cx="5073776" cy="5257800"/>
          </a:xfrm>
          <a:prstGeom prst="rect">
            <a:avLst/>
          </a:prstGeom>
          <a:noFill/>
        </p:spPr>
      </p:pic>
      <p:sp>
        <p:nvSpPr>
          <p:cNvPr id="22534" name="Text Placeholder 3">
            <a:extLst>
              <a:ext uri="{FF2B5EF4-FFF2-40B4-BE49-F238E27FC236}">
                <a16:creationId xmlns:a16="http://schemas.microsoft.com/office/drawing/2014/main" id="{F411BC22-CC7B-7BBB-963F-C73E076E987C}"/>
              </a:ext>
            </a:extLst>
          </p:cNvPr>
          <p:cNvSpPr>
            <a:spLocks noGrp="1"/>
          </p:cNvSpPr>
          <p:nvPr>
            <p:ph type="body" sz="half" idx="2"/>
          </p:nvPr>
        </p:nvSpPr>
        <p:spPr>
          <a:xfrm>
            <a:off x="135467" y="1442925"/>
            <a:ext cx="3601155" cy="4686942"/>
          </a:xfrm>
        </p:spPr>
        <p:txBody>
          <a:bodyPr>
            <a:normAutofit fontScale="85000" lnSpcReduction="20000"/>
          </a:bodyPr>
          <a:lstStyle/>
          <a:p>
            <a:pPr marL="285750" indent="-285750">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Goal to improve discussion rates by involving a multidisciplinary team</a:t>
            </a:r>
          </a:p>
          <a:p>
            <a:pPr marL="742950" lvl="1" indent="-285750">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Providers</a:t>
            </a:r>
          </a:p>
          <a:p>
            <a:pPr marL="742950" lvl="1" indent="-285750">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Diabetes educators</a:t>
            </a:r>
          </a:p>
          <a:p>
            <a:pPr marL="742950" lvl="1" indent="-285750">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Dietitians</a:t>
            </a:r>
          </a:p>
          <a:p>
            <a:pPr marL="742950" lvl="1" indent="-285750">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Social workers</a:t>
            </a:r>
          </a:p>
          <a:p>
            <a:pPr marL="742950" lvl="1" indent="-285750">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Patient navigators</a:t>
            </a:r>
          </a:p>
          <a:p>
            <a:pPr marL="285750" indent="-285750">
              <a:buFont typeface="Arial" panose="020B0604020202020204" pitchFamily="34" charset="0"/>
              <a:buChar char="•"/>
            </a:pPr>
            <a:endParaRPr lang="en-US" sz="26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Piloting the process within the monthly transition clinic before wide-spread adoption into routine clinical care</a:t>
            </a:r>
          </a:p>
          <a:p>
            <a:pPr marL="742950" lvl="1" indent="-285750">
              <a:buFont typeface="Arial" panose="020B0604020202020204" pitchFamily="34" charset="0"/>
              <a:buChar char="•"/>
            </a:pPr>
            <a:endParaRPr lang="en-US" sz="1300" dirty="0">
              <a:solidFill>
                <a:schemeClr val="bg1"/>
              </a:solidFill>
              <a:latin typeface="Arial" panose="020B0604020202020204" pitchFamily="34" charset="0"/>
              <a:cs typeface="Arial" panose="020B0604020202020204" pitchFamily="34" charset="0"/>
            </a:endParaRPr>
          </a:p>
          <a:p>
            <a:endParaRPr lang="en-US" sz="1600" dirty="0">
              <a:solidFill>
                <a:schemeClr val="bg1"/>
              </a:solidFill>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34545484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5A540-5B7C-AB02-60A8-3884BDB57054}"/>
            </a:ext>
          </a:extLst>
        </p:cNvPr>
        <p:cNvGrpSpPr/>
        <p:nvPr/>
      </p:nvGrpSpPr>
      <p:grpSpPr>
        <a:xfrm>
          <a:off x="0" y="0"/>
          <a:ext cx="0" cy="0"/>
          <a:chOff x="0" y="0"/>
          <a:chExt cx="0" cy="0"/>
        </a:xfrm>
      </p:grpSpPr>
    </p:spTree>
    <p:extLst>
      <p:ext uri="{BB962C8B-B14F-4D97-AF65-F5344CB8AC3E}">
        <p14:creationId xmlns:p14="http://schemas.microsoft.com/office/powerpoint/2010/main" val="3110410305"/>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filled, group, bunch, many&#10;&#10;Description automatically generated">
            <a:extLst>
              <a:ext uri="{FF2B5EF4-FFF2-40B4-BE49-F238E27FC236}">
                <a16:creationId xmlns:a16="http://schemas.microsoft.com/office/drawing/2014/main" id="{85F49C10-8453-A14E-A6D6-AB0A43B242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061F7A1-CFF8-D342-A9AF-5CB080C98BD0}"/>
              </a:ext>
            </a:extLst>
          </p:cNvPr>
          <p:cNvSpPr/>
          <p:nvPr/>
        </p:nvSpPr>
        <p:spPr>
          <a:xfrm>
            <a:off x="0" y="4181856"/>
            <a:ext cx="12192000" cy="2676144"/>
          </a:xfrm>
          <a:prstGeom prst="rect">
            <a:avLst/>
          </a:prstGeom>
          <a:solidFill>
            <a:srgbClr val="FFFFFF">
              <a:alpha val="87000"/>
            </a:srgbClr>
          </a:solidFill>
          <a:ln w="25400" cap="flat">
            <a:noFill/>
            <a:prstDash val="solid"/>
            <a:round/>
          </a:ln>
          <a:effectLst>
            <a:outerShdw dist="23000" sx="1000" sy="1000" rotWithShape="0">
              <a:srgbClr val="000000"/>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11" name="TextBox 10">
            <a:extLst>
              <a:ext uri="{FF2B5EF4-FFF2-40B4-BE49-F238E27FC236}">
                <a16:creationId xmlns:a16="http://schemas.microsoft.com/office/drawing/2014/main" id="{FA541A89-5206-2242-9AFB-02DE48E4971E}"/>
              </a:ext>
            </a:extLst>
          </p:cNvPr>
          <p:cNvSpPr txBox="1"/>
          <p:nvPr/>
        </p:nvSpPr>
        <p:spPr>
          <a:xfrm>
            <a:off x="4224542" y="4608613"/>
            <a:ext cx="7722087" cy="13849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US" sz="2800" b="1" dirty="0">
                <a:solidFill>
                  <a:srgbClr val="3E4E8D"/>
                </a:solidFill>
                <a:latin typeface="Montserrat SemiBold"/>
                <a:cs typeface="Hind Bold"/>
                <a:sym typeface="Hind Bold"/>
              </a:rPr>
              <a:t>Exploring the Emotional Impact of Clinical Encounters Among People Living with T1D</a:t>
            </a:r>
            <a:endParaRPr lang="en-US" sz="2800" dirty="0"/>
          </a:p>
        </p:txBody>
      </p:sp>
      <p:sp>
        <p:nvSpPr>
          <p:cNvPr id="12" name="TextBox 11">
            <a:extLst>
              <a:ext uri="{FF2B5EF4-FFF2-40B4-BE49-F238E27FC236}">
                <a16:creationId xmlns:a16="http://schemas.microsoft.com/office/drawing/2014/main" id="{107FFBB4-445B-6848-BFE8-9A72A1107B8B}"/>
              </a:ext>
            </a:extLst>
          </p:cNvPr>
          <p:cNvSpPr txBox="1"/>
          <p:nvPr/>
        </p:nvSpPr>
        <p:spPr>
          <a:xfrm>
            <a:off x="4224542" y="5993603"/>
            <a:ext cx="7967458" cy="38471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US" sz="1900" dirty="0">
                <a:solidFill>
                  <a:srgbClr val="3E4E8D"/>
                </a:solidFill>
                <a:latin typeface="Montserrat Light"/>
                <a:cs typeface="Hind Bold"/>
                <a:sym typeface="Hind Bold"/>
              </a:rPr>
              <a:t>Claire Rainey, BA; Alyssa Cabrera, MPH, CPHQ; Nicole Rioles, MA; </a:t>
            </a:r>
            <a:endParaRPr lang="en-US" sz="1900" dirty="0"/>
          </a:p>
        </p:txBody>
      </p:sp>
      <p:pic>
        <p:nvPicPr>
          <p:cNvPr id="3" name="Picture 2">
            <a:extLst>
              <a:ext uri="{FF2B5EF4-FFF2-40B4-BE49-F238E27FC236}">
                <a16:creationId xmlns:a16="http://schemas.microsoft.com/office/drawing/2014/main" id="{2B89F5C0-F873-3442-8D06-5B2634661B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091" y="4124633"/>
            <a:ext cx="4185883" cy="2790589"/>
          </a:xfrm>
          <a:prstGeom prst="rect">
            <a:avLst/>
          </a:prstGeom>
        </p:spPr>
      </p:pic>
    </p:spTree>
    <p:extLst>
      <p:ext uri="{BB962C8B-B14F-4D97-AF65-F5344CB8AC3E}">
        <p14:creationId xmlns:p14="http://schemas.microsoft.com/office/powerpoint/2010/main" val="330121669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5031E-F103-FB0E-93DF-AC66F6A23C90}"/>
              </a:ext>
            </a:extLst>
          </p:cNvPr>
          <p:cNvSpPr>
            <a:spLocks noGrp="1"/>
          </p:cNvSpPr>
          <p:nvPr>
            <p:ph type="title"/>
          </p:nvPr>
        </p:nvSpPr>
        <p:spPr/>
        <p:txBody>
          <a:bodyPr/>
          <a:lstStyle/>
          <a:p>
            <a:r>
              <a:rPr lang="en-US">
                <a:latin typeface="Montserrat SemiBold"/>
                <a:cs typeface="Hind Medium"/>
              </a:rPr>
              <a:t>Background </a:t>
            </a:r>
            <a:endParaRPr lang="en-US"/>
          </a:p>
        </p:txBody>
      </p:sp>
      <p:sp>
        <p:nvSpPr>
          <p:cNvPr id="3" name="TextBox 2">
            <a:extLst>
              <a:ext uri="{FF2B5EF4-FFF2-40B4-BE49-F238E27FC236}">
                <a16:creationId xmlns:a16="http://schemas.microsoft.com/office/drawing/2014/main" id="{5F221C8B-EFC2-3080-A102-9527D48F5177}"/>
              </a:ext>
            </a:extLst>
          </p:cNvPr>
          <p:cNvSpPr txBox="1"/>
          <p:nvPr/>
        </p:nvSpPr>
        <p:spPr>
          <a:xfrm>
            <a:off x="648657" y="800471"/>
            <a:ext cx="10806356" cy="529375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t" anchorCtr="0" forceAA="0" compatLnSpc="1">
            <a:prstTxWarp prst="textNoShape">
              <a:avLst/>
            </a:prstTxWarp>
            <a:spAutoFit/>
          </a:bodyPr>
          <a:lstStyle/>
          <a:p>
            <a:pPr marL="285750" indent="-285750">
              <a:buFont typeface="Arial"/>
              <a:buChar char="•"/>
            </a:pPr>
            <a:r>
              <a:rPr lang="en-US" sz="2000" dirty="0">
                <a:solidFill>
                  <a:srgbClr val="696F70"/>
                </a:solidFill>
                <a:latin typeface="Montserrat"/>
                <a:cs typeface="Times New Roman"/>
              </a:rPr>
              <a:t>T1D misconceptions contribute to judgement and stigma that affect people with T1D (PwT1D) across many aspects of their lives — including clinical care</a:t>
            </a:r>
          </a:p>
          <a:p>
            <a:endParaRPr lang="en-US" sz="2000" dirty="0">
              <a:solidFill>
                <a:srgbClr val="696F70"/>
              </a:solidFill>
              <a:latin typeface="Montserrat"/>
              <a:cs typeface="Times New Roman"/>
            </a:endParaRPr>
          </a:p>
          <a:p>
            <a:pPr marL="285750" indent="-285750">
              <a:buFont typeface="Arial"/>
              <a:buChar char="•"/>
            </a:pPr>
            <a:r>
              <a:rPr lang="en-US" sz="2000" dirty="0">
                <a:solidFill>
                  <a:srgbClr val="696F70"/>
                </a:solidFill>
                <a:latin typeface="Montserrat"/>
                <a:cs typeface="Times New Roman"/>
              </a:rPr>
              <a:t>The aim of this study is to explore how communication in the clinical setting can influence PwT1D </a:t>
            </a:r>
            <a:r>
              <a:rPr lang="en-US" sz="2000" dirty="0">
                <a:solidFill>
                  <a:srgbClr val="696F70"/>
                </a:solidFill>
                <a:latin typeface="Montserrat"/>
                <a:ea typeface="Calibri"/>
                <a:cs typeface="Times New Roman"/>
              </a:rPr>
              <a:t>behavior and the quality/frequency of care that PwT1D receive </a:t>
            </a:r>
          </a:p>
          <a:p>
            <a:endParaRPr lang="en-US" sz="2000" dirty="0">
              <a:solidFill>
                <a:srgbClr val="696F70"/>
              </a:solidFill>
              <a:latin typeface="Montserrat"/>
              <a:ea typeface="Calibri"/>
              <a:cs typeface="Times New Roman"/>
            </a:endParaRPr>
          </a:p>
          <a:p>
            <a:endParaRPr lang="en-US" sz="2000" dirty="0">
              <a:solidFill>
                <a:srgbClr val="696F70"/>
              </a:solidFill>
              <a:latin typeface="Montserrat"/>
              <a:ea typeface="Calibri"/>
              <a:cs typeface="Times New Roman"/>
            </a:endParaRPr>
          </a:p>
          <a:p>
            <a:r>
              <a:rPr lang="en-US" sz="2000" b="0" i="0" u="none" strike="noStrike" cap="none" spc="0" normalizeH="0" baseline="0" dirty="0">
                <a:ln>
                  <a:noFill/>
                </a:ln>
                <a:solidFill>
                  <a:srgbClr val="696F70"/>
                </a:solidFill>
                <a:effectLst/>
                <a:uFillTx/>
                <a:latin typeface="Montserrat"/>
                <a:ea typeface="Calibri"/>
                <a:cs typeface="Times New Roman"/>
              </a:rPr>
              <a:t>This study explores: </a:t>
            </a:r>
          </a:p>
          <a:p>
            <a:pPr marL="285750" indent="-285750">
              <a:buFont typeface="Arial"/>
              <a:buChar char="•"/>
            </a:pPr>
            <a:r>
              <a:rPr lang="en-US" sz="2000" dirty="0">
                <a:solidFill>
                  <a:srgbClr val="696F70"/>
                </a:solidFill>
                <a:latin typeface="Montserrat"/>
                <a:ea typeface="Calibri"/>
                <a:cs typeface="Times New Roman"/>
              </a:rPr>
              <a:t>The impact of judgmental or dismissive clinical interactions on PwT1D behavior and attitude regarding their care</a:t>
            </a:r>
          </a:p>
          <a:p>
            <a:endParaRPr lang="en-US" sz="2000" dirty="0">
              <a:solidFill>
                <a:srgbClr val="696F70"/>
              </a:solidFill>
              <a:latin typeface="Montserrat"/>
              <a:ea typeface="Calibri"/>
              <a:cs typeface="Times New Roman"/>
            </a:endParaRPr>
          </a:p>
          <a:p>
            <a:pPr marL="285750" indent="-285750">
              <a:buFont typeface="Arial"/>
              <a:buChar char="•"/>
            </a:pPr>
            <a:r>
              <a:rPr lang="en-US" sz="2000" dirty="0">
                <a:solidFill>
                  <a:srgbClr val="696F70"/>
                </a:solidFill>
                <a:latin typeface="Montserrat"/>
                <a:ea typeface="Calibri"/>
                <a:cs typeface="Times New Roman"/>
              </a:rPr>
              <a:t>How negative experiences can shape trust or mistrust in providers and future engagement with care</a:t>
            </a:r>
          </a:p>
          <a:p>
            <a:endParaRPr lang="en-US" sz="2000" dirty="0">
              <a:solidFill>
                <a:srgbClr val="696F70"/>
              </a:solidFill>
              <a:latin typeface="Montserrat"/>
              <a:ea typeface="Calibri"/>
              <a:cs typeface="Times New Roman"/>
            </a:endParaRPr>
          </a:p>
          <a:p>
            <a:pPr marL="285750" indent="-285750">
              <a:buFont typeface="Arial"/>
              <a:buChar char="•"/>
            </a:pPr>
            <a:r>
              <a:rPr lang="en-US" sz="2000" dirty="0">
                <a:solidFill>
                  <a:srgbClr val="696F70"/>
                </a:solidFill>
                <a:latin typeface="Montserrat"/>
                <a:ea typeface="Calibri"/>
                <a:cs typeface="Times New Roman"/>
              </a:rPr>
              <a:t>The importance of clear, respectful, bi-directional communication in fostering person-centered care</a:t>
            </a:r>
          </a:p>
          <a:p>
            <a:endParaRPr lang="en-US" dirty="0">
              <a:solidFill>
                <a:srgbClr val="000000"/>
              </a:solidFill>
              <a:latin typeface="Hind"/>
              <a:ea typeface="Calibri"/>
              <a:cs typeface="Calibri"/>
            </a:endParaRPr>
          </a:p>
        </p:txBody>
      </p:sp>
    </p:spTree>
    <p:extLst>
      <p:ext uri="{BB962C8B-B14F-4D97-AF65-F5344CB8AC3E}">
        <p14:creationId xmlns:p14="http://schemas.microsoft.com/office/powerpoint/2010/main" val="180651928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CBD72-0065-E7C3-8BE5-85E80BC56B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F8FDC5-FC19-D300-301B-509002CAFC5C}"/>
              </a:ext>
            </a:extLst>
          </p:cNvPr>
          <p:cNvSpPr>
            <a:spLocks noGrp="1"/>
          </p:cNvSpPr>
          <p:nvPr>
            <p:ph type="title"/>
          </p:nvPr>
        </p:nvSpPr>
        <p:spPr/>
        <p:txBody>
          <a:bodyPr/>
          <a:lstStyle/>
          <a:p>
            <a:r>
              <a:rPr lang="en-US">
                <a:latin typeface="Montserrat SemiBold"/>
                <a:cs typeface="Hind Medium"/>
              </a:rPr>
              <a:t>Methods</a:t>
            </a:r>
            <a:endParaRPr lang="en-US"/>
          </a:p>
        </p:txBody>
      </p:sp>
      <p:sp>
        <p:nvSpPr>
          <p:cNvPr id="3" name="TextBox 2">
            <a:extLst>
              <a:ext uri="{FF2B5EF4-FFF2-40B4-BE49-F238E27FC236}">
                <a16:creationId xmlns:a16="http://schemas.microsoft.com/office/drawing/2014/main" id="{FF5A1CCC-5809-2113-3A21-9663CC3B4446}"/>
              </a:ext>
            </a:extLst>
          </p:cNvPr>
          <p:cNvSpPr txBox="1"/>
          <p:nvPr/>
        </p:nvSpPr>
        <p:spPr>
          <a:xfrm>
            <a:off x="648657" y="800471"/>
            <a:ext cx="10806356" cy="45858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t" anchorCtr="0" forceAA="0" compatLnSpc="1">
            <a:prstTxWarp prst="textNoShape">
              <a:avLst/>
            </a:prstTxWarp>
            <a:spAutoFit/>
          </a:bodyPr>
          <a:lstStyle/>
          <a:p>
            <a:r>
              <a:rPr lang="en-US" sz="2000" dirty="0">
                <a:solidFill>
                  <a:srgbClr val="696F70"/>
                </a:solidFill>
                <a:latin typeface="Montserrat"/>
                <a:cs typeface="Times New Roman"/>
              </a:rPr>
              <a:t>This study employed a qualitative approach, asking people from the T1D community, including people responding to the Question Of The Day from the T1D Exchange and T1DX staff members living with T1D, to share personal narratives and insights based on lived experience</a:t>
            </a:r>
          </a:p>
          <a:p>
            <a:endParaRPr lang="en-US" sz="2000" dirty="0">
              <a:solidFill>
                <a:srgbClr val="696F70"/>
              </a:solidFill>
              <a:latin typeface="Montserrat"/>
              <a:cs typeface="Times New Roman"/>
            </a:endParaRPr>
          </a:p>
          <a:p>
            <a:r>
              <a:rPr lang="en-US" sz="2000" b="1" dirty="0">
                <a:solidFill>
                  <a:srgbClr val="696F70"/>
                </a:solidFill>
                <a:latin typeface="Montserrat"/>
                <a:cs typeface="Times New Roman"/>
              </a:rPr>
              <a:t>We gave them the following prompt: </a:t>
            </a:r>
          </a:p>
          <a:p>
            <a:endParaRPr lang="en-US" sz="2000" b="1" dirty="0">
              <a:solidFill>
                <a:srgbClr val="696F70"/>
              </a:solidFill>
              <a:latin typeface="Montserrat"/>
              <a:cs typeface="Times New Roman"/>
            </a:endParaRPr>
          </a:p>
          <a:p>
            <a:r>
              <a:rPr lang="en-US" sz="2000" dirty="0">
                <a:solidFill>
                  <a:srgbClr val="696F70"/>
                </a:solidFill>
                <a:latin typeface="Montserrat"/>
                <a:cs typeface="Times New Roman"/>
              </a:rPr>
              <a:t>We're exploring how trust is built — or broken — between clinical staff and people with T1D, especially through communication. Often, trust erodes when staff speak or act from a place of judgment or assumption. We're gathering real experiences to better understand this dynamic. </a:t>
            </a:r>
          </a:p>
          <a:p>
            <a:pPr marL="342900" indent="-342900">
              <a:buFont typeface="+mj-lt"/>
              <a:buAutoNum type="arabicPeriod"/>
            </a:pPr>
            <a:r>
              <a:rPr lang="en-US" sz="2000" dirty="0">
                <a:solidFill>
                  <a:srgbClr val="696F70"/>
                </a:solidFill>
                <a:latin typeface="Montserrat"/>
                <a:cs typeface="Times New Roman"/>
              </a:rPr>
              <a:t>Have you experienced judgment or assumptions from clinical staff?</a:t>
            </a:r>
          </a:p>
          <a:p>
            <a:pPr marL="342900" indent="-342900">
              <a:buFont typeface="+mj-lt"/>
              <a:buAutoNum type="arabicPeriod"/>
            </a:pPr>
            <a:r>
              <a:rPr lang="en-US" sz="2000" dirty="0">
                <a:solidFill>
                  <a:srgbClr val="696F70"/>
                </a:solidFill>
                <a:latin typeface="Montserrat"/>
                <a:cs typeface="Times New Roman"/>
              </a:rPr>
              <a:t>How did you respond?</a:t>
            </a:r>
          </a:p>
          <a:p>
            <a:pPr marL="342900" indent="-342900">
              <a:buFont typeface="+mj-lt"/>
              <a:buAutoNum type="arabicPeriod"/>
            </a:pPr>
            <a:r>
              <a:rPr lang="en-US" sz="2000" dirty="0">
                <a:solidFill>
                  <a:srgbClr val="696F70"/>
                </a:solidFill>
                <a:latin typeface="Montserrat"/>
                <a:cs typeface="Times New Roman"/>
              </a:rPr>
              <a:t>How did it affect your ability to stay open or engaged with them or that clinic?</a:t>
            </a:r>
            <a:endParaRPr lang="en-US" sz="2000" dirty="0">
              <a:solidFill>
                <a:srgbClr val="696F70"/>
              </a:solidFill>
              <a:latin typeface="Montserrat"/>
              <a:ea typeface="Calibri"/>
              <a:cs typeface="Times New Roman"/>
            </a:endParaRPr>
          </a:p>
          <a:p>
            <a:endParaRPr lang="en-US" sz="1200" dirty="0">
              <a:solidFill>
                <a:srgbClr val="696F70"/>
              </a:solidFill>
              <a:latin typeface="Hind Bold"/>
              <a:ea typeface="Hind Bold"/>
              <a:cs typeface="Hind Bold"/>
            </a:endParaRPr>
          </a:p>
        </p:txBody>
      </p:sp>
    </p:spTree>
    <p:extLst>
      <p:ext uri="{BB962C8B-B14F-4D97-AF65-F5344CB8AC3E}">
        <p14:creationId xmlns:p14="http://schemas.microsoft.com/office/powerpoint/2010/main" val="429467860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DE34A-F216-928D-3E0E-F28505472C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3BE4D8-9746-6506-F931-150921069123}"/>
              </a:ext>
            </a:extLst>
          </p:cNvPr>
          <p:cNvSpPr>
            <a:spLocks noGrp="1"/>
          </p:cNvSpPr>
          <p:nvPr>
            <p:ph type="title"/>
          </p:nvPr>
        </p:nvSpPr>
        <p:spPr/>
        <p:txBody>
          <a:bodyPr/>
          <a:lstStyle/>
          <a:p>
            <a:r>
              <a:rPr lang="en-US">
                <a:latin typeface="Montserrat SemiBold"/>
                <a:cs typeface="Hind Medium"/>
              </a:rPr>
              <a:t>Methods</a:t>
            </a:r>
            <a:endParaRPr lang="en-US"/>
          </a:p>
        </p:txBody>
      </p:sp>
      <p:sp>
        <p:nvSpPr>
          <p:cNvPr id="3" name="TextBox 2">
            <a:extLst>
              <a:ext uri="{FF2B5EF4-FFF2-40B4-BE49-F238E27FC236}">
                <a16:creationId xmlns:a16="http://schemas.microsoft.com/office/drawing/2014/main" id="{AA18624C-6E29-E84D-B24A-A8E934218968}"/>
              </a:ext>
            </a:extLst>
          </p:cNvPr>
          <p:cNvSpPr txBox="1"/>
          <p:nvPr/>
        </p:nvSpPr>
        <p:spPr>
          <a:xfrm>
            <a:off x="648657" y="800471"/>
            <a:ext cx="10806356" cy="35394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696F70"/>
                </a:solidFill>
                <a:effectLst/>
                <a:uLnTx/>
                <a:uFillTx/>
                <a:latin typeface="Montserrat"/>
                <a:ea typeface="Calibri"/>
                <a:cs typeface="Times New Roman"/>
              </a:rPr>
              <a:t>6 themes </a:t>
            </a:r>
            <a:r>
              <a:rPr kumimoji="0" lang="en-US" sz="2400" b="0" i="0" u="none" strike="noStrike" kern="1200" cap="none" spc="0" normalizeH="0" baseline="0" noProof="0" dirty="0">
                <a:ln>
                  <a:noFill/>
                </a:ln>
                <a:solidFill>
                  <a:srgbClr val="696F70"/>
                </a:solidFill>
                <a:effectLst/>
                <a:uLnTx/>
                <a:uFillTx/>
                <a:latin typeface="Montserrat"/>
                <a:ea typeface="Calibri"/>
                <a:cs typeface="Times New Roman"/>
              </a:rPr>
              <a:t>were identified across the stories shared:</a:t>
            </a:r>
            <a:endParaRPr lang="en-US" sz="2400" b="0" i="0" u="none" strike="noStrike" kern="1200" cap="none" spc="0" normalizeH="0" baseline="0" noProof="0" dirty="0">
              <a:ln>
                <a:noFill/>
              </a:ln>
              <a:solidFill>
                <a:srgbClr val="696F70"/>
              </a:solidFill>
              <a:effectLst/>
              <a:uLnTx/>
              <a:uFillTx/>
              <a:latin typeface="Montserrat"/>
              <a:ea typeface="Calibri"/>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0" i="0" u="none" strike="noStrike" kern="1200" cap="none" spc="0" normalizeH="0" baseline="0" noProof="0" dirty="0">
              <a:ln>
                <a:noFill/>
              </a:ln>
              <a:solidFill>
                <a:srgbClr val="000000"/>
              </a:solidFill>
              <a:effectLst/>
              <a:uLnTx/>
              <a:uFillTx/>
              <a:latin typeface="Hind"/>
              <a:ea typeface="Calibri"/>
              <a:cs typeface="Calibri"/>
            </a:endParaRPr>
          </a:p>
          <a:p>
            <a:pPr marL="342900" marR="0" lvl="0" indent="-342900" algn="l" defTabSz="914400" rtl="0" eaLnBrk="1" fontAlgn="auto" latinLnBrk="0" hangingPunct="1">
              <a:lnSpc>
                <a:spcPct val="150000"/>
              </a:lnSpc>
              <a:spcBef>
                <a:spcPts val="0"/>
              </a:spcBef>
              <a:spcAft>
                <a:spcPts val="0"/>
              </a:spcAft>
              <a:buClrTx/>
              <a:buSzTx/>
              <a:buFontTx/>
              <a:buAutoNum type="arabicParenR"/>
              <a:tabLst/>
              <a:defRPr/>
            </a:pPr>
            <a:r>
              <a:rPr kumimoji="0" lang="en-US" sz="2000" b="0" i="0" u="none" strike="noStrike" kern="1200" cap="none" spc="0" normalizeH="0" baseline="0" noProof="0" dirty="0">
                <a:ln>
                  <a:noFill/>
                </a:ln>
                <a:solidFill>
                  <a:srgbClr val="696F70"/>
                </a:solidFill>
                <a:effectLst/>
                <a:uLnTx/>
                <a:uFillTx/>
                <a:latin typeface="Montserrat"/>
                <a:ea typeface="Calibri"/>
                <a:cs typeface="Times New Roman"/>
              </a:rPr>
              <a:t>Moral Judgement and Negative Framing</a:t>
            </a:r>
            <a:endParaRPr lang="en-US" sz="2000" b="0" i="0" u="none" strike="noStrike" kern="1200" cap="none" spc="0" normalizeH="0" baseline="0" noProof="0" dirty="0">
              <a:ln>
                <a:noFill/>
              </a:ln>
              <a:solidFill>
                <a:srgbClr val="000000"/>
              </a:solidFill>
              <a:effectLst/>
              <a:uLnTx/>
              <a:uFillTx/>
              <a:latin typeface="Hind"/>
              <a:ea typeface="Calibri"/>
              <a:cs typeface="Calibri"/>
            </a:endParaRPr>
          </a:p>
          <a:p>
            <a:pPr marL="342900" marR="0" lvl="0" indent="-342900" algn="l" defTabSz="914400" rtl="0" eaLnBrk="1" fontAlgn="auto" latinLnBrk="0" hangingPunct="1">
              <a:lnSpc>
                <a:spcPct val="150000"/>
              </a:lnSpc>
              <a:spcBef>
                <a:spcPts val="0"/>
              </a:spcBef>
              <a:spcAft>
                <a:spcPts val="0"/>
              </a:spcAft>
              <a:buClrTx/>
              <a:buSzTx/>
              <a:buFontTx/>
              <a:buAutoNum type="arabicParenR"/>
              <a:tabLst/>
              <a:defRPr/>
            </a:pPr>
            <a:r>
              <a:rPr kumimoji="0" lang="en-US" sz="2000" b="0" i="0" u="none" strike="noStrike" kern="1200" cap="none" spc="0" normalizeH="0" baseline="0" noProof="0" dirty="0">
                <a:ln>
                  <a:noFill/>
                </a:ln>
                <a:solidFill>
                  <a:srgbClr val="696F70"/>
                </a:solidFill>
                <a:effectLst/>
                <a:uLnTx/>
                <a:uFillTx/>
                <a:latin typeface="Montserrat"/>
                <a:ea typeface="Calibri"/>
                <a:cs typeface="Times New Roman"/>
              </a:rPr>
              <a:t>Dismissal of Lived Experience</a:t>
            </a:r>
            <a:endParaRPr lang="en-US" sz="2000" b="0" i="0" u="none" strike="noStrike" kern="1200" cap="none" spc="0" normalizeH="0" baseline="0" noProof="0" dirty="0">
              <a:ln>
                <a:noFill/>
              </a:ln>
              <a:solidFill>
                <a:srgbClr val="696F70"/>
              </a:solidFill>
              <a:effectLst/>
              <a:uLnTx/>
              <a:uFillTx/>
              <a:latin typeface="Montserrat"/>
              <a:ea typeface="Calibri"/>
              <a:cs typeface="Times New Roman"/>
            </a:endParaRPr>
          </a:p>
          <a:p>
            <a:pPr marL="342900" marR="0" lvl="0" indent="-342900" algn="l" defTabSz="914400" rtl="0" eaLnBrk="1" fontAlgn="auto" latinLnBrk="0" hangingPunct="1">
              <a:lnSpc>
                <a:spcPct val="150000"/>
              </a:lnSpc>
              <a:spcBef>
                <a:spcPts val="0"/>
              </a:spcBef>
              <a:spcAft>
                <a:spcPts val="0"/>
              </a:spcAft>
              <a:buClrTx/>
              <a:buSzTx/>
              <a:buFontTx/>
              <a:buAutoNum type="arabicParenR"/>
              <a:tabLst/>
              <a:defRPr/>
            </a:pPr>
            <a:r>
              <a:rPr kumimoji="0" lang="en-US" sz="2000" b="0" i="0" u="none" strike="noStrike" kern="1200" cap="none" spc="0" normalizeH="0" baseline="0" noProof="0" dirty="0">
                <a:ln>
                  <a:noFill/>
                </a:ln>
                <a:solidFill>
                  <a:srgbClr val="696F70"/>
                </a:solidFill>
                <a:effectLst/>
                <a:uLnTx/>
                <a:uFillTx/>
                <a:latin typeface="Montserrat"/>
                <a:ea typeface="Calibri"/>
                <a:cs typeface="Times New Roman"/>
              </a:rPr>
              <a:t>Misinformed Care</a:t>
            </a:r>
            <a:endParaRPr lang="en-US" sz="2000" b="0" i="0" u="none" strike="noStrike" kern="1200" cap="none" spc="0" normalizeH="0" baseline="0" noProof="0" dirty="0">
              <a:ln>
                <a:noFill/>
              </a:ln>
              <a:solidFill>
                <a:srgbClr val="696F70"/>
              </a:solidFill>
              <a:effectLst/>
              <a:uLnTx/>
              <a:uFillTx/>
              <a:latin typeface="Montserrat"/>
              <a:ea typeface="Calibri"/>
              <a:cs typeface="Times New Roman"/>
            </a:endParaRPr>
          </a:p>
          <a:p>
            <a:pPr marL="342900" marR="0" lvl="0" indent="-342900" algn="l" defTabSz="914400" rtl="0" eaLnBrk="1" fontAlgn="auto" latinLnBrk="0" hangingPunct="1">
              <a:lnSpc>
                <a:spcPct val="150000"/>
              </a:lnSpc>
              <a:spcBef>
                <a:spcPts val="0"/>
              </a:spcBef>
              <a:spcAft>
                <a:spcPts val="0"/>
              </a:spcAft>
              <a:buClrTx/>
              <a:buSzTx/>
              <a:buFontTx/>
              <a:buAutoNum type="arabicParenR"/>
              <a:tabLst/>
              <a:defRPr/>
            </a:pPr>
            <a:r>
              <a:rPr kumimoji="0" lang="en-US" sz="2000" b="0" i="0" u="none" strike="noStrike" kern="1200" cap="none" spc="0" normalizeH="0" baseline="0" noProof="0" dirty="0">
                <a:ln>
                  <a:noFill/>
                </a:ln>
                <a:solidFill>
                  <a:srgbClr val="696F70"/>
                </a:solidFill>
                <a:effectLst/>
                <a:uLnTx/>
                <a:uFillTx/>
                <a:latin typeface="Montserrat"/>
                <a:ea typeface="Calibri"/>
                <a:cs typeface="Times New Roman"/>
              </a:rPr>
              <a:t>Unprofessional Interactions</a:t>
            </a:r>
          </a:p>
          <a:p>
            <a:pPr marL="342900" lvl="0" indent="-342900">
              <a:lnSpc>
                <a:spcPct val="150000"/>
              </a:lnSpc>
              <a:buFontTx/>
              <a:buAutoNum type="arabicParenR"/>
              <a:defRPr/>
            </a:pPr>
            <a:r>
              <a:rPr lang="en-US" sz="2000" dirty="0">
                <a:solidFill>
                  <a:srgbClr val="696F70"/>
                </a:solidFill>
                <a:latin typeface="Montserrat"/>
                <a:cs typeface="Times New Roman"/>
              </a:rPr>
              <a:t>Emotional Guarding</a:t>
            </a:r>
          </a:p>
          <a:p>
            <a:pPr marL="342900" lvl="0" indent="-342900">
              <a:lnSpc>
                <a:spcPct val="150000"/>
              </a:lnSpc>
              <a:buFontTx/>
              <a:buAutoNum type="arabicParenR"/>
              <a:defRPr/>
            </a:pPr>
            <a:r>
              <a:rPr lang="en-US" sz="2000" dirty="0">
                <a:solidFill>
                  <a:srgbClr val="696F70"/>
                </a:solidFill>
                <a:latin typeface="Montserrat"/>
                <a:cs typeface="Times New Roman"/>
              </a:rPr>
              <a:t>Inadequate Support</a:t>
            </a:r>
          </a:p>
        </p:txBody>
      </p:sp>
    </p:spTree>
    <p:extLst>
      <p:ext uri="{BB962C8B-B14F-4D97-AF65-F5344CB8AC3E}">
        <p14:creationId xmlns:p14="http://schemas.microsoft.com/office/powerpoint/2010/main" val="15047826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1981200" y="1600200"/>
            <a:ext cx="4038600" cy="4572000"/>
          </a:xfrm>
          <a:prstGeom prst="rect">
            <a:avLst/>
          </a:prstGeom>
        </p:spPr>
        <p:txBody>
          <a:bodyPr/>
          <a:lstStyle/>
          <a:p>
            <a:pPr marL="227013" indent="-227013">
              <a:spcAft>
                <a:spcPts val="1200"/>
              </a:spcAft>
            </a:pPr>
            <a:r>
              <a:rPr lang="en-US" sz="2100" dirty="0"/>
              <a:t>Single outpatient pediatric DM clinic at a large healthcare system</a:t>
            </a:r>
          </a:p>
          <a:p>
            <a:pPr marL="227013" indent="-227013">
              <a:spcAft>
                <a:spcPts val="1200"/>
              </a:spcAft>
            </a:pPr>
            <a:r>
              <a:rPr lang="en-US" sz="2100" dirty="0"/>
              <a:t>AYAs (≥ 17y) and providers with ≥20% clinical time in DM clinic</a:t>
            </a:r>
          </a:p>
          <a:p>
            <a:pPr marL="227013" indent="-227013">
              <a:spcAft>
                <a:spcPts val="1200"/>
              </a:spcAft>
            </a:pPr>
            <a:r>
              <a:rPr lang="en-US" sz="2100" b="1" dirty="0"/>
              <a:t>Baseline</a:t>
            </a:r>
            <a:r>
              <a:rPr lang="en-US" sz="2100" dirty="0"/>
              <a:t>: Nov 1-30, 2023</a:t>
            </a:r>
          </a:p>
          <a:p>
            <a:pPr marL="227013" indent="-227013">
              <a:spcAft>
                <a:spcPts val="1200"/>
              </a:spcAft>
            </a:pPr>
            <a:r>
              <a:rPr lang="en-US" sz="2100" b="1" dirty="0"/>
              <a:t>Intervention</a:t>
            </a:r>
            <a:r>
              <a:rPr lang="en-US" sz="2100" dirty="0"/>
              <a:t>: Jan 11-Dec 2, 2024</a:t>
            </a:r>
          </a:p>
        </p:txBody>
      </p:sp>
      <p:sp>
        <p:nvSpPr>
          <p:cNvPr id="13" name="Content Placeholder 2"/>
          <p:cNvSpPr>
            <a:spLocks noGrp="1"/>
          </p:cNvSpPr>
          <p:nvPr>
            <p:ph sz="half" idx="2"/>
          </p:nvPr>
        </p:nvSpPr>
        <p:spPr>
          <a:xfrm>
            <a:off x="6172200" y="1600200"/>
            <a:ext cx="4038600" cy="4572000"/>
          </a:xfrm>
          <a:prstGeom prst="rect">
            <a:avLst/>
          </a:prstGeom>
        </p:spPr>
        <p:txBody>
          <a:bodyPr/>
          <a:lstStyle/>
          <a:p>
            <a:pPr marL="227013" indent="-227013">
              <a:spcAft>
                <a:spcPts val="1200"/>
              </a:spcAft>
            </a:pPr>
            <a:r>
              <a:rPr lang="en-US" sz="2100" b="1" dirty="0"/>
              <a:t>Primary outcome</a:t>
            </a:r>
            <a:r>
              <a:rPr lang="en-US" sz="2100" dirty="0"/>
              <a:t>: % of established DM visits for AYAs (≥ 17y) with any HCT tool use​</a:t>
            </a:r>
          </a:p>
          <a:p>
            <a:pPr marL="227013" indent="-227013">
              <a:spcAft>
                <a:spcPts val="1200"/>
              </a:spcAft>
            </a:pPr>
            <a:r>
              <a:rPr lang="en-US" sz="2100" dirty="0"/>
              <a:t>EMR query for tool use, demographics, and clinical data​</a:t>
            </a:r>
          </a:p>
          <a:p>
            <a:pPr marL="227013" indent="-227013">
              <a:spcAft>
                <a:spcPts val="1200"/>
              </a:spcAft>
            </a:pPr>
            <a:r>
              <a:rPr lang="en-US" sz="2100" dirty="0"/>
              <a:t>Run charts tracked progress</a:t>
            </a:r>
          </a:p>
          <a:p>
            <a:pPr marL="227013" indent="-227013">
              <a:spcAft>
                <a:spcPts val="1200"/>
              </a:spcAft>
            </a:pPr>
            <a:r>
              <a:rPr lang="en-US" sz="2100" dirty="0"/>
              <a:t>Surveys assessed provider satisfaction &amp;  barriers to use</a:t>
            </a:r>
          </a:p>
          <a:p>
            <a:pPr marL="227013" indent="-227013">
              <a:spcAft>
                <a:spcPts val="1200"/>
              </a:spcAft>
            </a:pPr>
            <a:r>
              <a:rPr lang="en-US" sz="2100" dirty="0"/>
              <a:t>ORs (95% CI) and chi-square tests for statistical analysis</a:t>
            </a:r>
          </a:p>
        </p:txBody>
      </p:sp>
      <p:sp>
        <p:nvSpPr>
          <p:cNvPr id="4" name="Slide Number Placeholder 3"/>
          <p:cNvSpPr>
            <a:spLocks noGrp="1"/>
          </p:cNvSpPr>
          <p:nvPr>
            <p:ph type="sldNum" sz="quarter" idx="4"/>
          </p:nvPr>
        </p:nvSpPr>
        <p:spPr/>
        <p:txBody>
          <a:bodyPr/>
          <a:lstStyle/>
          <a:p>
            <a:fld id="{B6761BED-127F-4714-AE70-548270172845}" type="slidenum">
              <a:rPr lang="en-US" smtClean="0">
                <a:solidFill>
                  <a:schemeClr val="bg1">
                    <a:lumMod val="65000"/>
                  </a:schemeClr>
                </a:solidFill>
              </a:rPr>
              <a:pPr/>
              <a:t>4</a:t>
            </a:fld>
            <a:endParaRPr lang="en-US" dirty="0">
              <a:solidFill>
                <a:schemeClr val="bg1">
                  <a:lumMod val="65000"/>
                </a:schemeClr>
              </a:solidFill>
            </a:endParaRPr>
          </a:p>
        </p:txBody>
      </p:sp>
      <p:sp>
        <p:nvSpPr>
          <p:cNvPr id="2" name="Title 1"/>
          <p:cNvSpPr>
            <a:spLocks noGrp="1"/>
          </p:cNvSpPr>
          <p:nvPr>
            <p:ph type="title"/>
          </p:nvPr>
        </p:nvSpPr>
        <p:spPr/>
        <p:txBody>
          <a:bodyPr/>
          <a:lstStyle/>
          <a:p>
            <a:r>
              <a:rPr lang="en-US" dirty="0"/>
              <a:t>Methods</a:t>
            </a:r>
          </a:p>
        </p:txBody>
      </p:sp>
      <p:sp>
        <p:nvSpPr>
          <p:cNvPr id="7" name="Text Placeholder 1"/>
          <p:cNvSpPr txBox="1">
            <a:spLocks/>
          </p:cNvSpPr>
          <p:nvPr/>
        </p:nvSpPr>
        <p:spPr>
          <a:xfrm>
            <a:off x="1981200" y="1143000"/>
            <a:ext cx="4040188" cy="487362"/>
          </a:xfrm>
          <a:prstGeom prst="rect">
            <a:avLst/>
          </a:prstGeom>
        </p:spPr>
        <p:txBody>
          <a:bodyPr vert="horz" lIns="91440" tIns="45720" rIns="91440" bIns="45720" rtlCol="0" anchor="b">
            <a:normAutofit/>
          </a:bodyPr>
          <a:lstStyle>
            <a:lvl1pPr marL="342900" indent="-342900" algn="l" defTabSz="914400" rtl="0" eaLnBrk="1" latinLnBrk="0" hangingPunct="1">
              <a:spcBef>
                <a:spcPct val="20000"/>
              </a:spcBef>
              <a:buClr>
                <a:srgbClr val="00A94F"/>
              </a:buClr>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Clr>
                <a:srgbClr val="00A94F"/>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Clr>
                <a:srgbClr val="00A94F"/>
              </a:buClr>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00A94F"/>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spcBef>
                <a:spcPct val="20000"/>
              </a:spcBef>
              <a:buClr>
                <a:srgbClr val="00A94F"/>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400" b="1" dirty="0">
                <a:solidFill>
                  <a:srgbClr val="00A94F"/>
                </a:solidFill>
              </a:rPr>
              <a:t>Setting</a:t>
            </a:r>
          </a:p>
        </p:txBody>
      </p:sp>
      <p:sp>
        <p:nvSpPr>
          <p:cNvPr id="11" name="Text Placeholder 3"/>
          <p:cNvSpPr txBox="1">
            <a:spLocks/>
          </p:cNvSpPr>
          <p:nvPr/>
        </p:nvSpPr>
        <p:spPr>
          <a:xfrm>
            <a:off x="6169026" y="1143000"/>
            <a:ext cx="4041775" cy="487362"/>
          </a:xfrm>
          <a:prstGeom prst="rect">
            <a:avLst/>
          </a:prstGeom>
        </p:spPr>
        <p:txBody>
          <a:bodyPr anchor="b"/>
          <a:lstStyle>
            <a:lvl1pPr marL="342900" indent="-3429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1pPr>
            <a:lvl2pPr marL="742950" indent="-28575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2pPr>
            <a:lvl3pPr marL="1143000" indent="-2286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3pPr>
            <a:lvl4pPr marL="1600200" indent="-2286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4pPr>
            <a:lvl5pPr marL="2057400" indent="-2286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400" b="1" dirty="0">
                <a:solidFill>
                  <a:srgbClr val="00A94F"/>
                </a:solidFill>
              </a:rPr>
              <a:t>Data Collection &amp; Analysis</a:t>
            </a:r>
          </a:p>
        </p:txBody>
      </p:sp>
      <p:sp>
        <p:nvSpPr>
          <p:cNvPr id="8" name="Rectangle 7"/>
          <p:cNvSpPr/>
          <p:nvPr/>
        </p:nvSpPr>
        <p:spPr>
          <a:xfrm>
            <a:off x="5791200" y="6248400"/>
            <a:ext cx="3810000" cy="60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44947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p:bldP spid="11"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3C369-F656-EF05-A83F-ECE4BA7814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8F47E9-518C-0AF2-3B0E-E9C37678E030}"/>
              </a:ext>
            </a:extLst>
          </p:cNvPr>
          <p:cNvSpPr>
            <a:spLocks noGrp="1"/>
          </p:cNvSpPr>
          <p:nvPr>
            <p:ph type="title"/>
          </p:nvPr>
        </p:nvSpPr>
        <p:spPr/>
        <p:txBody>
          <a:bodyPr/>
          <a:lstStyle/>
          <a:p>
            <a:r>
              <a:rPr lang="en-US">
                <a:latin typeface="Montserrat SemiBold"/>
                <a:cs typeface="Hind Medium"/>
              </a:rPr>
              <a:t>Living with T1D for 5 years </a:t>
            </a:r>
            <a:endParaRPr lang="en-US"/>
          </a:p>
        </p:txBody>
      </p:sp>
      <p:sp>
        <p:nvSpPr>
          <p:cNvPr id="3" name="TextBox 2">
            <a:extLst>
              <a:ext uri="{FF2B5EF4-FFF2-40B4-BE49-F238E27FC236}">
                <a16:creationId xmlns:a16="http://schemas.microsoft.com/office/drawing/2014/main" id="{A10E04D0-5496-32B9-FB51-A8788D0ABC2A}"/>
              </a:ext>
            </a:extLst>
          </p:cNvPr>
          <p:cNvSpPr txBox="1"/>
          <p:nvPr/>
        </p:nvSpPr>
        <p:spPr>
          <a:xfrm>
            <a:off x="648657" y="800471"/>
            <a:ext cx="10806356" cy="34163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t" anchorCtr="0" forceAA="0" compatLnSpc="1">
            <a:prstTxWarp prst="textNoShape">
              <a:avLst/>
            </a:prstTxWarp>
            <a:spAutoFit/>
          </a:bodyPr>
          <a:lstStyle/>
          <a:p>
            <a:r>
              <a:rPr lang="en-US" sz="1700" dirty="0">
                <a:solidFill>
                  <a:srgbClr val="696F70"/>
                </a:solidFill>
                <a:latin typeface="Montserrat"/>
                <a:ea typeface="Calibri"/>
                <a:cs typeface="Times New Roman"/>
              </a:rPr>
              <a:t>"I had just made the switch from a pediatric endocrinologist to an adult endocrinologist, and it was my first appointment at the new clinic. I didn't know where I was supposed to go for the appointment, so I asked the front desk security person. </a:t>
            </a:r>
          </a:p>
          <a:p>
            <a:endParaRPr lang="en-US" sz="1700" dirty="0">
              <a:solidFill>
                <a:srgbClr val="696F70"/>
              </a:solidFill>
              <a:latin typeface="Montserrat"/>
              <a:ea typeface="Calibri"/>
              <a:cs typeface="Times New Roman"/>
            </a:endParaRPr>
          </a:p>
          <a:p>
            <a:r>
              <a:rPr lang="en-US" sz="1700" dirty="0">
                <a:solidFill>
                  <a:srgbClr val="696F70"/>
                </a:solidFill>
                <a:latin typeface="Montserrat"/>
                <a:ea typeface="Calibri"/>
                <a:cs typeface="Times New Roman"/>
              </a:rPr>
              <a:t>I asked him where I needed to go for my diabetes appointment. He said, </a:t>
            </a:r>
            <a:r>
              <a:rPr lang="en-US" sz="1700" dirty="0">
                <a:solidFill>
                  <a:srgbClr val="696F70"/>
                </a:solidFill>
                <a:highlight>
                  <a:srgbClr val="B1DFE0"/>
                </a:highlight>
                <a:latin typeface="Montserrat"/>
                <a:ea typeface="Calibri"/>
                <a:cs typeface="Times New Roman"/>
              </a:rPr>
              <a:t>'diabetes? you have diabetes? </a:t>
            </a:r>
            <a:r>
              <a:rPr lang="en-US" sz="1700" dirty="0">
                <a:solidFill>
                  <a:srgbClr val="696F70"/>
                </a:solidFill>
                <a:highlight>
                  <a:srgbClr val="CDE6D2"/>
                </a:highlight>
                <a:latin typeface="Montserrat"/>
                <a:ea typeface="Calibri"/>
                <a:cs typeface="Times New Roman"/>
              </a:rPr>
              <a:t>you don't have diabetes </a:t>
            </a:r>
            <a:r>
              <a:rPr lang="en-US" sz="1700" dirty="0">
                <a:solidFill>
                  <a:srgbClr val="696F70"/>
                </a:solidFill>
                <a:highlight>
                  <a:srgbClr val="B1DFE0"/>
                </a:highlight>
                <a:latin typeface="Montserrat"/>
                <a:ea typeface="Calibri"/>
                <a:cs typeface="Times New Roman"/>
              </a:rPr>
              <a:t>you don't eat a lot of junk.' </a:t>
            </a:r>
            <a:r>
              <a:rPr lang="en-US" sz="1700" dirty="0">
                <a:solidFill>
                  <a:srgbClr val="696F70"/>
                </a:solidFill>
                <a:latin typeface="Montserrat"/>
                <a:ea typeface="Calibri"/>
                <a:cs typeface="Times New Roman"/>
              </a:rPr>
              <a:t>I was baffled by his response to my simple request of asking him for directions. I felt the need to tell him that T1D is not caused by eating too much junk food. </a:t>
            </a:r>
          </a:p>
          <a:p>
            <a:endParaRPr lang="en-US" sz="1700" dirty="0">
              <a:solidFill>
                <a:srgbClr val="696F70"/>
              </a:solidFill>
              <a:latin typeface="Montserrat"/>
              <a:ea typeface="Calibri"/>
              <a:cs typeface="Times New Roman"/>
            </a:endParaRPr>
          </a:p>
          <a:p>
            <a:r>
              <a:rPr lang="en-US" sz="1700" dirty="0">
                <a:solidFill>
                  <a:srgbClr val="696F70"/>
                </a:solidFill>
                <a:latin typeface="Montserrat"/>
                <a:ea typeface="Calibri"/>
                <a:cs typeface="Times New Roman"/>
              </a:rPr>
              <a:t>He gave me directions, and I walked to the waiting room </a:t>
            </a:r>
            <a:r>
              <a:rPr lang="en-US" sz="1700" dirty="0">
                <a:solidFill>
                  <a:srgbClr val="696F70"/>
                </a:solidFill>
                <a:highlight>
                  <a:srgbClr val="F88561"/>
                </a:highlight>
                <a:latin typeface="Montserrat"/>
                <a:ea typeface="Calibri"/>
                <a:cs typeface="Times New Roman"/>
              </a:rPr>
              <a:t>feeling sad and uncomfortable. </a:t>
            </a:r>
            <a:r>
              <a:rPr lang="en-US" sz="1700" dirty="0">
                <a:solidFill>
                  <a:srgbClr val="696F70"/>
                </a:solidFill>
                <a:latin typeface="Montserrat"/>
                <a:ea typeface="Calibri"/>
                <a:cs typeface="Times New Roman"/>
              </a:rPr>
              <a:t>This particular diabetes clinic is known throughout the world for their commitment to care and empowerment of patients, however </a:t>
            </a:r>
            <a:r>
              <a:rPr lang="en-US" sz="1700" dirty="0">
                <a:solidFill>
                  <a:srgbClr val="696F70"/>
                </a:solidFill>
                <a:highlight>
                  <a:srgbClr val="FFFF00"/>
                </a:highlight>
                <a:latin typeface="Montserrat"/>
                <a:ea typeface="Calibri"/>
                <a:cs typeface="Times New Roman"/>
              </a:rPr>
              <a:t>I felt belittled and judged in my first encounter there."</a:t>
            </a:r>
            <a:endParaRPr lang="en-US" dirty="0">
              <a:solidFill>
                <a:srgbClr val="696F70"/>
              </a:solidFill>
              <a:latin typeface="Montserrat"/>
              <a:ea typeface="Calibri"/>
              <a:cs typeface="Times New Roman"/>
            </a:endParaRPr>
          </a:p>
          <a:p>
            <a:endParaRPr lang="en-US" sz="1200" dirty="0">
              <a:solidFill>
                <a:srgbClr val="696F70"/>
              </a:solidFill>
              <a:latin typeface="Hind Bold"/>
              <a:ea typeface="Hind Bold"/>
              <a:cs typeface="Hind Bold"/>
            </a:endParaRPr>
          </a:p>
        </p:txBody>
      </p:sp>
      <p:sp>
        <p:nvSpPr>
          <p:cNvPr id="4" name="Flowchart: Connector 3">
            <a:extLst>
              <a:ext uri="{FF2B5EF4-FFF2-40B4-BE49-F238E27FC236}">
                <a16:creationId xmlns:a16="http://schemas.microsoft.com/office/drawing/2014/main" id="{9CBEE77A-9709-C181-83AD-0A7F759256C1}"/>
              </a:ext>
            </a:extLst>
          </p:cNvPr>
          <p:cNvSpPr/>
          <p:nvPr/>
        </p:nvSpPr>
        <p:spPr>
          <a:xfrm>
            <a:off x="500690" y="5807124"/>
            <a:ext cx="395111" cy="355600"/>
          </a:xfrm>
          <a:prstGeom prst="flowChartConnector">
            <a:avLst/>
          </a:prstGeom>
          <a:solidFill>
            <a:srgbClr val="FFFF00"/>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5" name="Flowchart: Connector 4">
            <a:extLst>
              <a:ext uri="{FF2B5EF4-FFF2-40B4-BE49-F238E27FC236}">
                <a16:creationId xmlns:a16="http://schemas.microsoft.com/office/drawing/2014/main" id="{C63325AC-3717-ABCA-39F7-89B41F4DA027}"/>
              </a:ext>
            </a:extLst>
          </p:cNvPr>
          <p:cNvSpPr/>
          <p:nvPr/>
        </p:nvSpPr>
        <p:spPr>
          <a:xfrm>
            <a:off x="491412" y="5447568"/>
            <a:ext cx="395111" cy="355600"/>
          </a:xfrm>
          <a:prstGeom prst="flowChartConnector">
            <a:avLst/>
          </a:prstGeom>
          <a:solidFill>
            <a:srgbClr val="F88561"/>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6" name="Flowchart: Connector 5">
            <a:extLst>
              <a:ext uri="{FF2B5EF4-FFF2-40B4-BE49-F238E27FC236}">
                <a16:creationId xmlns:a16="http://schemas.microsoft.com/office/drawing/2014/main" id="{A0EE903F-10DE-84BA-B451-FC9508352D2D}"/>
              </a:ext>
            </a:extLst>
          </p:cNvPr>
          <p:cNvSpPr/>
          <p:nvPr/>
        </p:nvSpPr>
        <p:spPr>
          <a:xfrm>
            <a:off x="500690" y="5085580"/>
            <a:ext cx="395111" cy="355600"/>
          </a:xfrm>
          <a:prstGeom prst="flowChartConnector">
            <a:avLst/>
          </a:prstGeom>
          <a:solidFill>
            <a:srgbClr val="CDE6D2"/>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7" name="Flowchart: Connector 6">
            <a:extLst>
              <a:ext uri="{FF2B5EF4-FFF2-40B4-BE49-F238E27FC236}">
                <a16:creationId xmlns:a16="http://schemas.microsoft.com/office/drawing/2014/main" id="{6545A3FF-B35D-FBCB-D689-BF0BC9D2E5A2}"/>
              </a:ext>
            </a:extLst>
          </p:cNvPr>
          <p:cNvSpPr/>
          <p:nvPr/>
        </p:nvSpPr>
        <p:spPr>
          <a:xfrm>
            <a:off x="500690" y="4669100"/>
            <a:ext cx="395111" cy="355600"/>
          </a:xfrm>
          <a:prstGeom prst="flowChartConnector">
            <a:avLst/>
          </a:prstGeom>
          <a:solidFill>
            <a:srgbClr val="B1DFE0"/>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8" name="TextBox 7">
            <a:extLst>
              <a:ext uri="{FF2B5EF4-FFF2-40B4-BE49-F238E27FC236}">
                <a16:creationId xmlns:a16="http://schemas.microsoft.com/office/drawing/2014/main" id="{2AD782D3-1C7D-5F2B-ABFB-233ED7528E67}"/>
              </a:ext>
            </a:extLst>
          </p:cNvPr>
          <p:cNvSpPr txBox="1"/>
          <p:nvPr/>
        </p:nvSpPr>
        <p:spPr>
          <a:xfrm>
            <a:off x="897012" y="4593068"/>
            <a:ext cx="5350933" cy="15696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696F70"/>
                </a:solidFill>
                <a:effectLst/>
                <a:uLnTx/>
                <a:uFillTx/>
                <a:latin typeface="Montserrat"/>
                <a:ea typeface="Calibri"/>
                <a:cs typeface="Calibri"/>
              </a:rPr>
              <a:t>Unprofessional Interactions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696F70"/>
                </a:solidFill>
                <a:effectLst/>
                <a:uLnTx/>
                <a:uFillTx/>
                <a:latin typeface="Montserrat"/>
                <a:ea typeface="Calibri"/>
                <a:cs typeface="Calibri"/>
              </a:rPr>
              <a:t>Dismissal of Lived Experience </a:t>
            </a:r>
            <a:endParaRPr kumimoji="0" lang="en-US" sz="1600" b="0" i="0" u="none" strike="noStrike" kern="1200" cap="none" spc="0" normalizeH="0" baseline="0" noProof="0">
              <a:ln>
                <a:noFill/>
              </a:ln>
              <a:solidFill>
                <a:srgbClr val="696F70"/>
              </a:solidFill>
              <a:effectLst/>
              <a:highlight>
                <a:srgbClr val="F88561"/>
              </a:highlight>
              <a:uLnTx/>
              <a:uFillTx/>
              <a:latin typeface="Montserrat"/>
              <a:ea typeface="Calibri"/>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777777"/>
                </a:solidFill>
                <a:effectLst/>
                <a:uLnTx/>
                <a:uFillTx/>
                <a:latin typeface="Montserrat"/>
                <a:ea typeface="Calibri"/>
                <a:cs typeface="Calibri"/>
              </a:rPr>
              <a:t>Emotional Guarding</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777777"/>
                </a:solidFill>
                <a:effectLst/>
                <a:uLnTx/>
                <a:uFillTx/>
                <a:latin typeface="Montserrat"/>
                <a:ea typeface="Calibri"/>
                <a:cs typeface="Calibri"/>
              </a:rPr>
              <a:t>M</a:t>
            </a:r>
            <a:r>
              <a:rPr kumimoji="0" lang="en-US" sz="1600" b="0" i="0" u="none" strike="noStrike" kern="1200" cap="none" spc="0" normalizeH="0" baseline="0" noProof="0">
                <a:ln>
                  <a:noFill/>
                </a:ln>
                <a:solidFill>
                  <a:srgbClr val="696F70"/>
                </a:solidFill>
                <a:effectLst/>
                <a:uLnTx/>
                <a:uFillTx/>
                <a:latin typeface="Montserrat"/>
                <a:ea typeface="Calibri"/>
                <a:cs typeface="Calibri"/>
              </a:rPr>
              <a:t>oral Judgement and Negative Framing </a:t>
            </a:r>
            <a:endParaRPr kumimoji="0" lang="en-US" sz="1600" b="0" i="0" u="none" strike="noStrike" kern="1200" cap="none" spc="0" normalizeH="0" baseline="0" noProof="0">
              <a:ln>
                <a:noFill/>
              </a:ln>
              <a:solidFill>
                <a:srgbClr val="F88561"/>
              </a:solidFill>
              <a:effectLst/>
              <a:uLnTx/>
              <a:uFillTx/>
              <a:latin typeface="Montserrat"/>
              <a:ea typeface="Calibri"/>
              <a:cs typeface="Calibri"/>
            </a:endParaRPr>
          </a:p>
        </p:txBody>
      </p:sp>
    </p:spTree>
    <p:extLst>
      <p:ext uri="{BB962C8B-B14F-4D97-AF65-F5344CB8AC3E}">
        <p14:creationId xmlns:p14="http://schemas.microsoft.com/office/powerpoint/2010/main" val="8114365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8C6FC-443E-6139-2DE6-E358DD2D3E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0EF54C-9563-A7D2-9554-69F0531CFEA3}"/>
              </a:ext>
            </a:extLst>
          </p:cNvPr>
          <p:cNvSpPr>
            <a:spLocks noGrp="1"/>
          </p:cNvSpPr>
          <p:nvPr>
            <p:ph type="title"/>
          </p:nvPr>
        </p:nvSpPr>
        <p:spPr/>
        <p:txBody>
          <a:bodyPr/>
          <a:lstStyle/>
          <a:p>
            <a:r>
              <a:rPr lang="en-US">
                <a:latin typeface="Montserrat SemiBold"/>
                <a:cs typeface="Hind Medium"/>
              </a:rPr>
              <a:t>Living with T1D for 28 years </a:t>
            </a:r>
            <a:endParaRPr lang="en-US"/>
          </a:p>
        </p:txBody>
      </p:sp>
      <p:sp>
        <p:nvSpPr>
          <p:cNvPr id="3" name="TextBox 2">
            <a:extLst>
              <a:ext uri="{FF2B5EF4-FFF2-40B4-BE49-F238E27FC236}">
                <a16:creationId xmlns:a16="http://schemas.microsoft.com/office/drawing/2014/main" id="{D3C8B74C-5AA7-F744-B787-5EEDD5185A69}"/>
              </a:ext>
            </a:extLst>
          </p:cNvPr>
          <p:cNvSpPr txBox="1"/>
          <p:nvPr/>
        </p:nvSpPr>
        <p:spPr>
          <a:xfrm>
            <a:off x="648657" y="800471"/>
            <a:ext cx="10806356" cy="48013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t" anchorCtr="0" forceAA="0" compatLnSpc="1">
            <a:prstTxWarp prst="textNoShape">
              <a:avLst/>
            </a:prstTxWarp>
            <a:spAutoFit/>
          </a:bodyPr>
          <a:lstStyle/>
          <a:p>
            <a:r>
              <a:rPr lang="en-US" dirty="0">
                <a:solidFill>
                  <a:srgbClr val="696F70"/>
                </a:solidFill>
                <a:latin typeface="Montserrat"/>
                <a:ea typeface="Calibri"/>
                <a:cs typeface="Times New Roman"/>
              </a:rPr>
              <a:t>“In a 20 min OB/GYN appt to discuss a gyn issue, the NP I saw spent the first half of the visit talking about my A1c. </a:t>
            </a:r>
            <a:r>
              <a:rPr lang="en-US" dirty="0">
                <a:solidFill>
                  <a:srgbClr val="696F70"/>
                </a:solidFill>
                <a:highlight>
                  <a:srgbClr val="FFFF00"/>
                </a:highlight>
                <a:latin typeface="Montserrat"/>
                <a:ea typeface="Calibri"/>
                <a:cs typeface="Times New Roman"/>
              </a:rPr>
              <a:t>"Your level is 6.2% now. It was 5.8% in your last visit. It's not moving in the right direction." </a:t>
            </a:r>
            <a:r>
              <a:rPr lang="en-US" dirty="0">
                <a:solidFill>
                  <a:srgbClr val="696F70"/>
                </a:solidFill>
                <a:latin typeface="Montserrat"/>
                <a:ea typeface="Calibri"/>
                <a:cs typeface="Times New Roman"/>
              </a:rPr>
              <a:t>I looked at her blankly and said: "You know that the Standard of Care goal is 7% and it's adjusted to 6.5% only for people for when it is safe, and I am below both, right?" </a:t>
            </a:r>
          </a:p>
          <a:p>
            <a:endParaRPr lang="en-US" dirty="0">
              <a:solidFill>
                <a:srgbClr val="696F70"/>
              </a:solidFill>
              <a:latin typeface="Montserrat"/>
              <a:ea typeface="Calibri"/>
              <a:cs typeface="Times New Roman"/>
            </a:endParaRPr>
          </a:p>
          <a:p>
            <a:r>
              <a:rPr lang="en-US" dirty="0">
                <a:solidFill>
                  <a:srgbClr val="696F70"/>
                </a:solidFill>
                <a:highlight>
                  <a:srgbClr val="C0C0C0"/>
                </a:highlight>
                <a:latin typeface="Montserrat"/>
                <a:ea typeface="Calibri"/>
                <a:cs typeface="Times New Roman"/>
              </a:rPr>
              <a:t>She reiterated it was "moving" in the wrong direction and that this can be a dangerous over time. </a:t>
            </a:r>
            <a:r>
              <a:rPr lang="en-US" dirty="0">
                <a:solidFill>
                  <a:srgbClr val="696F70"/>
                </a:solidFill>
                <a:latin typeface="Montserrat"/>
                <a:ea typeface="Calibri"/>
                <a:cs typeface="Times New Roman"/>
              </a:rPr>
              <a:t>I felt the need to mention my TIR, but also felt panicked, knowing that </a:t>
            </a:r>
            <a:r>
              <a:rPr lang="en-US" dirty="0">
                <a:solidFill>
                  <a:srgbClr val="696F70"/>
                </a:solidFill>
                <a:highlight>
                  <a:srgbClr val="00FF00"/>
                </a:highlight>
                <a:latin typeface="Montserrat"/>
                <a:ea typeface="Calibri"/>
                <a:cs typeface="Times New Roman"/>
              </a:rPr>
              <a:t>there would not enough time to talk about the gyn topic that I was visiting for. </a:t>
            </a:r>
          </a:p>
          <a:p>
            <a:endParaRPr lang="en-US" dirty="0">
              <a:solidFill>
                <a:srgbClr val="696F70"/>
              </a:solidFill>
              <a:latin typeface="Montserrat"/>
              <a:ea typeface="Calibri"/>
              <a:cs typeface="Times New Roman"/>
            </a:endParaRPr>
          </a:p>
          <a:p>
            <a:r>
              <a:rPr lang="en-US" dirty="0">
                <a:solidFill>
                  <a:srgbClr val="696F70"/>
                </a:solidFill>
                <a:latin typeface="Montserrat"/>
                <a:ea typeface="Calibri"/>
                <a:cs typeface="Times New Roman"/>
              </a:rPr>
              <a:t>As a person who has been hospitalized 20 times for severe hypoglycemia, keeping A1c below 7% has never been a recommendation of my endocrinologist. Instead, he supports me in trying to keep time below 70mg/dL below 4%. </a:t>
            </a:r>
          </a:p>
          <a:p>
            <a:endParaRPr lang="en-US" dirty="0">
              <a:solidFill>
                <a:srgbClr val="696F70"/>
              </a:solidFill>
              <a:latin typeface="Montserrat"/>
              <a:ea typeface="Calibri"/>
              <a:cs typeface="Times New Roman"/>
            </a:endParaRPr>
          </a:p>
          <a:p>
            <a:r>
              <a:rPr lang="en-US" dirty="0">
                <a:solidFill>
                  <a:srgbClr val="696F70"/>
                </a:solidFill>
                <a:latin typeface="Montserrat"/>
                <a:ea typeface="Calibri"/>
                <a:cs typeface="Times New Roman"/>
              </a:rPr>
              <a:t>I felt angry and resentful that </a:t>
            </a:r>
            <a:r>
              <a:rPr lang="en-US" dirty="0">
                <a:solidFill>
                  <a:srgbClr val="696F70"/>
                </a:solidFill>
                <a:highlight>
                  <a:srgbClr val="B1DFE0"/>
                </a:highlight>
                <a:latin typeface="Montserrat"/>
                <a:ea typeface="Calibri"/>
                <a:cs typeface="Times New Roman"/>
              </a:rPr>
              <a:t>she was not giving space for the important topic for the visit and was instead focusing on something that she had no history with and no expertise with.”</a:t>
            </a:r>
          </a:p>
          <a:p>
            <a:endParaRPr lang="en-US" dirty="0">
              <a:solidFill>
                <a:srgbClr val="696F70"/>
              </a:solidFill>
              <a:latin typeface="Montserrat"/>
              <a:ea typeface="Calibri"/>
              <a:cs typeface="Times New Roman"/>
            </a:endParaRPr>
          </a:p>
          <a:p>
            <a:r>
              <a:rPr lang="en-US" dirty="0">
                <a:solidFill>
                  <a:srgbClr val="696F70"/>
                </a:solidFill>
                <a:latin typeface="Montserrat"/>
                <a:ea typeface="Calibri"/>
                <a:cs typeface="Calibri"/>
              </a:rPr>
              <a:t>         </a:t>
            </a:r>
            <a:endParaRPr lang="en-US" sz="1200" dirty="0">
              <a:solidFill>
                <a:srgbClr val="696F70"/>
              </a:solidFill>
              <a:latin typeface="Hind Bold"/>
              <a:ea typeface="Hind Bold"/>
              <a:cs typeface="Hind Bold"/>
            </a:endParaRPr>
          </a:p>
        </p:txBody>
      </p:sp>
      <p:sp>
        <p:nvSpPr>
          <p:cNvPr id="4" name="Flowchart: Connector 3">
            <a:extLst>
              <a:ext uri="{FF2B5EF4-FFF2-40B4-BE49-F238E27FC236}">
                <a16:creationId xmlns:a16="http://schemas.microsoft.com/office/drawing/2014/main" id="{B6F4CDF7-36AC-D462-3323-169C4164E9D3}"/>
              </a:ext>
            </a:extLst>
          </p:cNvPr>
          <p:cNvSpPr/>
          <p:nvPr/>
        </p:nvSpPr>
        <p:spPr>
          <a:xfrm>
            <a:off x="777723" y="5246181"/>
            <a:ext cx="395111" cy="355600"/>
          </a:xfrm>
          <a:prstGeom prst="flowChartConnector">
            <a:avLst/>
          </a:prstGeom>
          <a:solidFill>
            <a:srgbClr val="FFFF00"/>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5" name="Flowchart: Connector 4">
            <a:extLst>
              <a:ext uri="{FF2B5EF4-FFF2-40B4-BE49-F238E27FC236}">
                <a16:creationId xmlns:a16="http://schemas.microsoft.com/office/drawing/2014/main" id="{706AD6DD-62FA-9687-08BC-0EE317A665B2}"/>
              </a:ext>
            </a:extLst>
          </p:cNvPr>
          <p:cNvSpPr/>
          <p:nvPr/>
        </p:nvSpPr>
        <p:spPr>
          <a:xfrm>
            <a:off x="777723" y="5627511"/>
            <a:ext cx="395111" cy="355600"/>
          </a:xfrm>
          <a:prstGeom prst="flowChartConnector">
            <a:avLst/>
          </a:prstGeom>
          <a:solidFill>
            <a:srgbClr val="C0C0C0"/>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6" name="TextBox 5">
            <a:extLst>
              <a:ext uri="{FF2B5EF4-FFF2-40B4-BE49-F238E27FC236}">
                <a16:creationId xmlns:a16="http://schemas.microsoft.com/office/drawing/2014/main" id="{395F76D4-A42D-7FE2-EF56-5EB17B1924DF}"/>
              </a:ext>
            </a:extLst>
          </p:cNvPr>
          <p:cNvSpPr txBox="1"/>
          <p:nvPr/>
        </p:nvSpPr>
        <p:spPr>
          <a:xfrm>
            <a:off x="1220426" y="5198283"/>
            <a:ext cx="5113867" cy="15696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696F70"/>
                </a:solidFill>
                <a:effectLst/>
                <a:uLnTx/>
                <a:uFillTx/>
                <a:latin typeface="Montserrat"/>
                <a:ea typeface="Calibri"/>
                <a:cs typeface="Calibri"/>
              </a:rPr>
              <a:t>Moral Judgement and Negative Framing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696F70"/>
                </a:solidFill>
                <a:effectLst/>
                <a:uLnTx/>
                <a:uFillTx/>
                <a:latin typeface="Montserrat"/>
                <a:ea typeface="Calibri"/>
                <a:cs typeface="Calibri"/>
              </a:rPr>
              <a:t>Misinformed Care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696F70"/>
                </a:solidFill>
                <a:effectLst/>
                <a:uLnTx/>
                <a:uFillTx/>
                <a:latin typeface="Montserrat"/>
                <a:ea typeface="Calibri"/>
                <a:cs typeface="Calibri"/>
              </a:rPr>
              <a:t>Inadequate Suppor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696F70"/>
                </a:solidFill>
                <a:effectLst/>
                <a:uLnTx/>
                <a:uFillTx/>
                <a:latin typeface="Montserrat"/>
                <a:ea typeface="Calibri"/>
                <a:cs typeface="Calibri"/>
              </a:rPr>
              <a:t>Unprofessional Interactions</a:t>
            </a:r>
          </a:p>
        </p:txBody>
      </p:sp>
      <p:sp>
        <p:nvSpPr>
          <p:cNvPr id="7" name="Flowchart: Connector 6">
            <a:extLst>
              <a:ext uri="{FF2B5EF4-FFF2-40B4-BE49-F238E27FC236}">
                <a16:creationId xmlns:a16="http://schemas.microsoft.com/office/drawing/2014/main" id="{DDD4DD60-3ED0-0D33-7BD6-BA49D5DF0752}"/>
              </a:ext>
            </a:extLst>
          </p:cNvPr>
          <p:cNvSpPr/>
          <p:nvPr/>
        </p:nvSpPr>
        <p:spPr>
          <a:xfrm>
            <a:off x="777723" y="6330574"/>
            <a:ext cx="395111" cy="355600"/>
          </a:xfrm>
          <a:prstGeom prst="flowChartConnector">
            <a:avLst/>
          </a:prstGeom>
          <a:solidFill>
            <a:srgbClr val="B1DFE0"/>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8" name="Flowchart: Connector 7">
            <a:extLst>
              <a:ext uri="{FF2B5EF4-FFF2-40B4-BE49-F238E27FC236}">
                <a16:creationId xmlns:a16="http://schemas.microsoft.com/office/drawing/2014/main" id="{DB3D59BA-C9B9-3BFD-5F03-FDE06B4FFE74}"/>
              </a:ext>
            </a:extLst>
          </p:cNvPr>
          <p:cNvSpPr/>
          <p:nvPr/>
        </p:nvSpPr>
        <p:spPr>
          <a:xfrm>
            <a:off x="777723" y="5979043"/>
            <a:ext cx="395111" cy="355600"/>
          </a:xfrm>
          <a:prstGeom prst="flowChartConnector">
            <a:avLst/>
          </a:prstGeom>
          <a:solidFill>
            <a:srgbClr val="00FF00"/>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Tree>
    <p:extLst>
      <p:ext uri="{BB962C8B-B14F-4D97-AF65-F5344CB8AC3E}">
        <p14:creationId xmlns:p14="http://schemas.microsoft.com/office/powerpoint/2010/main" val="140372473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1AD9B-A7B9-86B3-F60F-54AB82B517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E9E605-D31D-5A36-6BB6-CBF87F9B8420}"/>
              </a:ext>
            </a:extLst>
          </p:cNvPr>
          <p:cNvSpPr>
            <a:spLocks noGrp="1"/>
          </p:cNvSpPr>
          <p:nvPr>
            <p:ph type="title"/>
          </p:nvPr>
        </p:nvSpPr>
        <p:spPr/>
        <p:txBody>
          <a:bodyPr/>
          <a:lstStyle/>
          <a:p>
            <a:r>
              <a:rPr lang="en-US">
                <a:latin typeface="Montserrat SemiBold"/>
                <a:cs typeface="Hind Medium"/>
              </a:rPr>
              <a:t>Living with T1D for 12 years </a:t>
            </a:r>
            <a:endParaRPr lang="en-US"/>
          </a:p>
        </p:txBody>
      </p:sp>
      <p:sp>
        <p:nvSpPr>
          <p:cNvPr id="3" name="TextBox 2">
            <a:extLst>
              <a:ext uri="{FF2B5EF4-FFF2-40B4-BE49-F238E27FC236}">
                <a16:creationId xmlns:a16="http://schemas.microsoft.com/office/drawing/2014/main" id="{D92CABE0-8898-E77C-AC08-E311138CB5B8}"/>
              </a:ext>
            </a:extLst>
          </p:cNvPr>
          <p:cNvSpPr txBox="1"/>
          <p:nvPr/>
        </p:nvSpPr>
        <p:spPr>
          <a:xfrm>
            <a:off x="648657" y="800471"/>
            <a:ext cx="10806356" cy="46858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t" anchorCtr="0" forceAA="0" compatLnSpc="1">
            <a:prstTxWarp prst="textNoShape">
              <a:avLst/>
            </a:prstTxWarp>
            <a:spAutoFit/>
          </a:bodyPr>
          <a:lstStyle/>
          <a:p>
            <a:r>
              <a:rPr lang="en-US" sz="1600" dirty="0">
                <a:solidFill>
                  <a:srgbClr val="696F70"/>
                </a:solidFill>
                <a:latin typeface="Montserrat"/>
                <a:ea typeface="Calibri"/>
                <a:cs typeface="Times New Roman"/>
              </a:rPr>
              <a:t>"My provider at the time would pull up my pump and CGM reports and ask what I was doing at a specific time before a spike or before going low, etc. </a:t>
            </a:r>
            <a:r>
              <a:rPr lang="en-US" sz="1600" dirty="0">
                <a:solidFill>
                  <a:srgbClr val="696F70"/>
                </a:solidFill>
                <a:highlight>
                  <a:srgbClr val="CDE6D2"/>
                </a:highlight>
                <a:latin typeface="Montserrat"/>
                <a:ea typeface="Calibri"/>
                <a:cs typeface="Times New Roman"/>
              </a:rPr>
              <a:t>When I answered honestly, she would often clarify what I was saying with a furrowed brow, as if in disbelief. </a:t>
            </a:r>
            <a:r>
              <a:rPr lang="en-US" sz="1600" dirty="0">
                <a:solidFill>
                  <a:srgbClr val="696F70"/>
                </a:solidFill>
                <a:latin typeface="Montserrat"/>
                <a:ea typeface="Calibri"/>
                <a:cs typeface="Times New Roman"/>
              </a:rPr>
              <a:t>And to be fair, I was 22, so I was doing questionable things and was probably too honest about that with her, but </a:t>
            </a:r>
            <a:r>
              <a:rPr lang="en-US" sz="1600" dirty="0">
                <a:solidFill>
                  <a:srgbClr val="696F70"/>
                </a:solidFill>
                <a:highlight>
                  <a:srgbClr val="FFFF00"/>
                </a:highlight>
                <a:latin typeface="Montserrat"/>
                <a:ea typeface="Calibri"/>
                <a:cs typeface="Times New Roman"/>
              </a:rPr>
              <a:t>I felt really judged</a:t>
            </a:r>
            <a:r>
              <a:rPr lang="en-US" sz="1600" dirty="0">
                <a:solidFill>
                  <a:srgbClr val="696F70"/>
                </a:solidFill>
                <a:latin typeface="Montserrat"/>
                <a:ea typeface="Calibri"/>
                <a:cs typeface="Times New Roman"/>
              </a:rPr>
              <a:t>. At one point, she had me schedule an appointment with their social worker, which meant I had to pay a copay and take a half-day off work, at a time in my life when I was living paycheck to paycheck. After a brief conversation with the social worker, she was like, "Yep, sounds like you're 22, I'm not worried.“</a:t>
            </a:r>
          </a:p>
          <a:p>
            <a:endParaRPr lang="en-US" sz="1600" dirty="0">
              <a:solidFill>
                <a:srgbClr val="696F70"/>
              </a:solidFill>
              <a:latin typeface="Montserrat"/>
              <a:ea typeface="Calibri"/>
              <a:cs typeface="Times New Roman"/>
            </a:endParaRPr>
          </a:p>
          <a:p>
            <a:r>
              <a:rPr lang="en-US" sz="1600" dirty="0">
                <a:solidFill>
                  <a:srgbClr val="696F70"/>
                </a:solidFill>
                <a:latin typeface="Montserrat"/>
                <a:ea typeface="Calibri"/>
                <a:cs typeface="Times New Roman"/>
              </a:rPr>
              <a:t>At my next appointment with the provider, I told her about the social worker visit. She seemed irritated. </a:t>
            </a:r>
            <a:r>
              <a:rPr lang="en-US" sz="1600" dirty="0">
                <a:solidFill>
                  <a:srgbClr val="696F70"/>
                </a:solidFill>
                <a:highlight>
                  <a:srgbClr val="F88561"/>
                </a:highlight>
                <a:latin typeface="Montserrat"/>
                <a:ea typeface="Calibri"/>
                <a:cs typeface="Times New Roman"/>
              </a:rPr>
              <a:t>I was never honest with her again and answered all of her questions with as few words as possible. </a:t>
            </a:r>
          </a:p>
          <a:p>
            <a:endParaRPr lang="en-US" sz="1600" dirty="0">
              <a:solidFill>
                <a:srgbClr val="696F70"/>
              </a:solidFill>
              <a:latin typeface="Montserrat"/>
              <a:ea typeface="Calibri"/>
              <a:cs typeface="Times New Roman"/>
            </a:endParaRPr>
          </a:p>
          <a:p>
            <a:r>
              <a:rPr lang="en-US" sz="1600" dirty="0">
                <a:solidFill>
                  <a:srgbClr val="696F70"/>
                </a:solidFill>
                <a:latin typeface="Montserrat"/>
                <a:ea typeface="Calibri"/>
                <a:cs typeface="Times New Roman"/>
              </a:rPr>
              <a:t>Later, I participated in a clinical trial at a different institution for an SGLT-2 inhibitor, and during the trial, my A1C level was 5.4% at my regular endocrinology visit. After the trial was over, during my next visit with my provider, I had an A1C somewhere in the low 6s, which was still lower than my usual A1C. </a:t>
            </a:r>
            <a:r>
              <a:rPr lang="en-US" sz="1600" dirty="0">
                <a:solidFill>
                  <a:srgbClr val="696F70"/>
                </a:solidFill>
                <a:highlight>
                  <a:srgbClr val="CDE6D2"/>
                </a:highlight>
                <a:latin typeface="Montserrat"/>
                <a:ea typeface="Calibri"/>
                <a:cs typeface="Times New Roman"/>
              </a:rPr>
              <a:t>She furrowed her brow and said, "Are you sure you're not taking the SGLT-2 still?" and I said, "No, the trial is over" and she said, "But could you still be getting it?” </a:t>
            </a:r>
            <a:r>
              <a:rPr lang="en-US" sz="1600" dirty="0">
                <a:solidFill>
                  <a:srgbClr val="696F70"/>
                </a:solidFill>
                <a:latin typeface="Montserrat"/>
                <a:ea typeface="Calibri"/>
                <a:cs typeface="Times New Roman"/>
              </a:rPr>
              <a:t>I was so shocked that she was insinuating I was getting an SGLT-2 inhibitor under the table and lying about it. </a:t>
            </a:r>
            <a:r>
              <a:rPr lang="en-US" sz="1600" dirty="0">
                <a:solidFill>
                  <a:srgbClr val="696F70"/>
                </a:solidFill>
                <a:highlight>
                  <a:srgbClr val="F88561"/>
                </a:highlight>
                <a:latin typeface="Montserrat"/>
                <a:ea typeface="Calibri"/>
                <a:cs typeface="Times New Roman"/>
              </a:rPr>
              <a:t>After that, I never went back or told them I was switching hospitals, just stopped responding to them.”</a:t>
            </a:r>
            <a:endParaRPr lang="en-US" sz="1400" dirty="0">
              <a:solidFill>
                <a:srgbClr val="696F70"/>
              </a:solidFill>
              <a:latin typeface="Montserrat"/>
              <a:ea typeface="Calibri"/>
              <a:cs typeface="Times New Roman"/>
            </a:endParaRPr>
          </a:p>
          <a:p>
            <a:endParaRPr lang="en-US" sz="1050" dirty="0">
              <a:solidFill>
                <a:srgbClr val="696F70"/>
              </a:solidFill>
              <a:latin typeface="Hind Bold"/>
              <a:ea typeface="Hind Bold"/>
              <a:cs typeface="Hind Bold"/>
            </a:endParaRPr>
          </a:p>
        </p:txBody>
      </p:sp>
      <p:sp>
        <p:nvSpPr>
          <p:cNvPr id="4" name="TextBox 3">
            <a:extLst>
              <a:ext uri="{FF2B5EF4-FFF2-40B4-BE49-F238E27FC236}">
                <a16:creationId xmlns:a16="http://schemas.microsoft.com/office/drawing/2014/main" id="{B4768D7E-35C0-86C0-47A4-BC5949B02591}"/>
              </a:ext>
            </a:extLst>
          </p:cNvPr>
          <p:cNvSpPr txBox="1"/>
          <p:nvPr/>
        </p:nvSpPr>
        <p:spPr>
          <a:xfrm>
            <a:off x="930879" y="5365034"/>
            <a:ext cx="4928054" cy="13849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a:lnSpc>
                <a:spcPct val="150000"/>
              </a:lnSpc>
            </a:pPr>
            <a:r>
              <a:rPr lang="en-US" sz="1600">
                <a:solidFill>
                  <a:srgbClr val="696F70"/>
                </a:solidFill>
                <a:latin typeface="Montserrat"/>
              </a:rPr>
              <a:t>Dismissal of Lived Experience </a:t>
            </a:r>
          </a:p>
          <a:p>
            <a:pPr>
              <a:lnSpc>
                <a:spcPct val="150000"/>
              </a:lnSpc>
            </a:pPr>
            <a:r>
              <a:rPr lang="en-US" sz="1600">
                <a:solidFill>
                  <a:srgbClr val="696F70"/>
                </a:solidFill>
                <a:latin typeface="Montserrat"/>
              </a:rPr>
              <a:t>Moral Judgement and Negative Framing </a:t>
            </a:r>
          </a:p>
          <a:p>
            <a:pPr>
              <a:lnSpc>
                <a:spcPct val="150000"/>
              </a:lnSpc>
            </a:pPr>
            <a:r>
              <a:rPr lang="en-US" sz="1600">
                <a:solidFill>
                  <a:srgbClr val="777777"/>
                </a:solidFill>
                <a:latin typeface="Montserrat"/>
              </a:rPr>
              <a:t>Emotional Guarding</a:t>
            </a:r>
            <a:endParaRPr lang="en-US" sz="1600">
              <a:solidFill>
                <a:srgbClr val="F88561"/>
              </a:solidFill>
              <a:latin typeface="Montserrat"/>
            </a:endParaRPr>
          </a:p>
          <a:p>
            <a:pPr marL="0" marR="0" indent="0" algn="l" defTabSz="914400"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696F70"/>
              </a:solidFill>
              <a:effectLst/>
              <a:uFillTx/>
              <a:latin typeface="Hind Bold"/>
              <a:ea typeface="Hind Bold"/>
              <a:cs typeface="Hind Bold"/>
              <a:sym typeface="Hind Bold"/>
            </a:endParaRPr>
          </a:p>
        </p:txBody>
      </p:sp>
      <p:sp>
        <p:nvSpPr>
          <p:cNvPr id="5" name="Flowchart: Connector 4">
            <a:extLst>
              <a:ext uri="{FF2B5EF4-FFF2-40B4-BE49-F238E27FC236}">
                <a16:creationId xmlns:a16="http://schemas.microsoft.com/office/drawing/2014/main" id="{1BC532C0-2C42-9221-0103-9CB1E5687D79}"/>
              </a:ext>
            </a:extLst>
          </p:cNvPr>
          <p:cNvSpPr/>
          <p:nvPr/>
        </p:nvSpPr>
        <p:spPr>
          <a:xfrm>
            <a:off x="531252" y="5762594"/>
            <a:ext cx="395111" cy="355600"/>
          </a:xfrm>
          <a:prstGeom prst="flowChartConnector">
            <a:avLst/>
          </a:prstGeom>
          <a:solidFill>
            <a:srgbClr val="FFFF00"/>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6" name="Flowchart: Connector 5">
            <a:extLst>
              <a:ext uri="{FF2B5EF4-FFF2-40B4-BE49-F238E27FC236}">
                <a16:creationId xmlns:a16="http://schemas.microsoft.com/office/drawing/2014/main" id="{2D918EF6-2B7A-B444-25AE-327DEE3AA676}"/>
              </a:ext>
            </a:extLst>
          </p:cNvPr>
          <p:cNvSpPr/>
          <p:nvPr/>
        </p:nvSpPr>
        <p:spPr>
          <a:xfrm>
            <a:off x="526736" y="6118194"/>
            <a:ext cx="395111" cy="355600"/>
          </a:xfrm>
          <a:prstGeom prst="flowChartConnector">
            <a:avLst/>
          </a:prstGeom>
          <a:solidFill>
            <a:srgbClr val="F88561"/>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7" name="Flowchart: Connector 6">
            <a:extLst>
              <a:ext uri="{FF2B5EF4-FFF2-40B4-BE49-F238E27FC236}">
                <a16:creationId xmlns:a16="http://schemas.microsoft.com/office/drawing/2014/main" id="{9E8BCC28-3040-3A77-CD3E-CFD48F7898F9}"/>
              </a:ext>
            </a:extLst>
          </p:cNvPr>
          <p:cNvSpPr/>
          <p:nvPr/>
        </p:nvSpPr>
        <p:spPr>
          <a:xfrm>
            <a:off x="526735" y="5365034"/>
            <a:ext cx="395111" cy="355600"/>
          </a:xfrm>
          <a:prstGeom prst="flowChartConnector">
            <a:avLst/>
          </a:prstGeom>
          <a:solidFill>
            <a:srgbClr val="CDE6D2"/>
          </a:solidFill>
          <a:ln w="25400" cap="flat">
            <a:solidFill>
              <a:schemeClr val="bg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Tree>
    <p:extLst>
      <p:ext uri="{BB962C8B-B14F-4D97-AF65-F5344CB8AC3E}">
        <p14:creationId xmlns:p14="http://schemas.microsoft.com/office/powerpoint/2010/main" val="384564692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0C8B8-67B0-07D4-EB07-202C78BF67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80FCBB-F59B-8EE8-02F0-876F7CE20DC2}"/>
              </a:ext>
            </a:extLst>
          </p:cNvPr>
          <p:cNvSpPr>
            <a:spLocks noGrp="1"/>
          </p:cNvSpPr>
          <p:nvPr>
            <p:ph type="title"/>
          </p:nvPr>
        </p:nvSpPr>
        <p:spPr/>
        <p:txBody>
          <a:bodyPr/>
          <a:lstStyle/>
          <a:p>
            <a:r>
              <a:rPr lang="en-US">
                <a:latin typeface="Montserrat SemiBold"/>
                <a:cs typeface="Hind Medium"/>
              </a:rPr>
              <a:t>Results </a:t>
            </a:r>
            <a:endParaRPr lang="en-US"/>
          </a:p>
        </p:txBody>
      </p:sp>
      <p:graphicFrame>
        <p:nvGraphicFramePr>
          <p:cNvPr id="5" name="Table 4">
            <a:extLst>
              <a:ext uri="{FF2B5EF4-FFF2-40B4-BE49-F238E27FC236}">
                <a16:creationId xmlns:a16="http://schemas.microsoft.com/office/drawing/2014/main" id="{BB806F3A-0E18-D9D3-13FB-C3299B6AAB31}"/>
              </a:ext>
            </a:extLst>
          </p:cNvPr>
          <p:cNvGraphicFramePr>
            <a:graphicFrameLocks noGrp="1"/>
          </p:cNvGraphicFramePr>
          <p:nvPr/>
        </p:nvGraphicFramePr>
        <p:xfrm>
          <a:off x="684108" y="1491097"/>
          <a:ext cx="10701866" cy="4342864"/>
        </p:xfrm>
        <a:graphic>
          <a:graphicData uri="http://schemas.openxmlformats.org/drawingml/2006/table">
            <a:tbl>
              <a:tblPr firstRow="1" bandRow="1">
                <a:tableStyleId>{5C22544A-7EE6-4342-B048-85BDC9FD1C3A}</a:tableStyleId>
              </a:tblPr>
              <a:tblGrid>
                <a:gridCol w="3241850">
                  <a:extLst>
                    <a:ext uri="{9D8B030D-6E8A-4147-A177-3AD203B41FA5}">
                      <a16:colId xmlns:a16="http://schemas.microsoft.com/office/drawing/2014/main" val="3496238588"/>
                    </a:ext>
                  </a:extLst>
                </a:gridCol>
                <a:gridCol w="6948871">
                  <a:extLst>
                    <a:ext uri="{9D8B030D-6E8A-4147-A177-3AD203B41FA5}">
                      <a16:colId xmlns:a16="http://schemas.microsoft.com/office/drawing/2014/main" val="1380429682"/>
                    </a:ext>
                  </a:extLst>
                </a:gridCol>
                <a:gridCol w="511145">
                  <a:extLst>
                    <a:ext uri="{9D8B030D-6E8A-4147-A177-3AD203B41FA5}">
                      <a16:colId xmlns:a16="http://schemas.microsoft.com/office/drawing/2014/main" val="3061793009"/>
                    </a:ext>
                  </a:extLst>
                </a:gridCol>
              </a:tblGrid>
              <a:tr h="413903">
                <a:tc>
                  <a:txBody>
                    <a:bodyPr/>
                    <a:lstStyle/>
                    <a:p>
                      <a:pPr algn="ctr"/>
                      <a:r>
                        <a:rPr lang="en-US" sz="2000" dirty="0"/>
                        <a:t>Themes</a:t>
                      </a:r>
                    </a:p>
                  </a:txBody>
                  <a:tcPr/>
                </a:tc>
                <a:tc>
                  <a:txBody>
                    <a:bodyPr/>
                    <a:lstStyle/>
                    <a:p>
                      <a:pPr algn="ctr"/>
                      <a:r>
                        <a:rPr lang="en-US" sz="2000" dirty="0"/>
                        <a:t>Theme Descriptions</a:t>
                      </a:r>
                    </a:p>
                  </a:txBody>
                  <a:tcPr/>
                </a:tc>
                <a:tc>
                  <a:txBody>
                    <a:bodyPr/>
                    <a:lstStyle/>
                    <a:p>
                      <a:pPr algn="ctr"/>
                      <a:r>
                        <a:rPr lang="en-US" sz="2000" dirty="0"/>
                        <a:t>n</a:t>
                      </a:r>
                    </a:p>
                  </a:txBody>
                  <a:tcPr/>
                </a:tc>
                <a:extLst>
                  <a:ext uri="{0D108BD9-81ED-4DB2-BD59-A6C34878D82A}">
                    <a16:rowId xmlns:a16="http://schemas.microsoft.com/office/drawing/2014/main" val="3704859470"/>
                  </a:ext>
                </a:extLst>
              </a:tr>
              <a:tr h="552002">
                <a:tc>
                  <a:txBody>
                    <a:bodyPr/>
                    <a:lstStyle/>
                    <a:p>
                      <a:r>
                        <a:rPr lang="en-US" sz="1600" dirty="0"/>
                        <a:t>1. Moral Judgement and Negative Framing </a:t>
                      </a:r>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400" dirty="0"/>
                        <a:t>When clinicians frame diabetes outcomes as personal failings or moral shortcomings, rather than as part of a complex medical condition. </a:t>
                      </a:r>
                      <a:endParaRPr lang="en-US" sz="1600" dirty="0"/>
                    </a:p>
                  </a:txBody>
                  <a:tcPr/>
                </a:tc>
                <a:tc>
                  <a:txBody>
                    <a:bodyPr/>
                    <a:lstStyle/>
                    <a:p>
                      <a:r>
                        <a:rPr lang="en-US" sz="1400" dirty="0"/>
                        <a:t>10</a:t>
                      </a:r>
                    </a:p>
                  </a:txBody>
                  <a:tcPr/>
                </a:tc>
                <a:extLst>
                  <a:ext uri="{0D108BD9-81ED-4DB2-BD59-A6C34878D82A}">
                    <a16:rowId xmlns:a16="http://schemas.microsoft.com/office/drawing/2014/main" val="3758057616"/>
                  </a:ext>
                </a:extLst>
              </a:tr>
              <a:tr h="697265">
                <a:tc>
                  <a:txBody>
                    <a:bodyPr/>
                    <a:lstStyle/>
                    <a:p>
                      <a:r>
                        <a:rPr lang="en-US" sz="1600" dirty="0"/>
                        <a:t>2. Misinformed Care </a:t>
                      </a:r>
                      <a:endParaRPr lang="en-US" dirty="0"/>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400" dirty="0"/>
                        <a:t>Providers or staff operate from inaccurate assumptions about T1D, leading to misguided advice or misplaced focus. These knowledge gaps can harm both trust and quality of care.</a:t>
                      </a:r>
                    </a:p>
                  </a:txBody>
                  <a:tcPr/>
                </a:tc>
                <a:tc>
                  <a:txBody>
                    <a:bodyPr/>
                    <a:lstStyle/>
                    <a:p>
                      <a:r>
                        <a:rPr lang="en-US" sz="1400" dirty="0"/>
                        <a:t>10</a:t>
                      </a:r>
                    </a:p>
                  </a:txBody>
                  <a:tcPr/>
                </a:tc>
                <a:extLst>
                  <a:ext uri="{0D108BD9-81ED-4DB2-BD59-A6C34878D82A}">
                    <a16:rowId xmlns:a16="http://schemas.microsoft.com/office/drawing/2014/main" val="4215762049"/>
                  </a:ext>
                </a:extLst>
              </a:tr>
              <a:tr h="492271">
                <a:tc>
                  <a:txBody>
                    <a:bodyPr/>
                    <a:lstStyle/>
                    <a:p>
                      <a:r>
                        <a:rPr lang="en-US" sz="1600"/>
                        <a:t>3. Dismissal of Lived Experience</a:t>
                      </a:r>
                    </a:p>
                  </a:txBody>
                  <a:tcPr/>
                </a:tc>
                <a:tc>
                  <a:txBody>
                    <a:bodyPr/>
                    <a:lstStyle/>
                    <a:p>
                      <a:r>
                        <a:rPr lang="en-US" sz="1400" dirty="0"/>
                        <a:t>Ignoring or minimizing a patient’s experience with T1D.</a:t>
                      </a:r>
                    </a:p>
                  </a:txBody>
                  <a:tcPr/>
                </a:tc>
                <a:tc>
                  <a:txBody>
                    <a:bodyPr/>
                    <a:lstStyle/>
                    <a:p>
                      <a:r>
                        <a:rPr lang="en-US" sz="1400" dirty="0"/>
                        <a:t>9</a:t>
                      </a:r>
                    </a:p>
                  </a:txBody>
                  <a:tcPr/>
                </a:tc>
                <a:extLst>
                  <a:ext uri="{0D108BD9-81ED-4DB2-BD59-A6C34878D82A}">
                    <a16:rowId xmlns:a16="http://schemas.microsoft.com/office/drawing/2014/main" val="3928585102"/>
                  </a:ext>
                </a:extLst>
              </a:tr>
              <a:tr h="697265">
                <a:tc>
                  <a:txBody>
                    <a:bodyPr/>
                    <a:lstStyle/>
                    <a:p>
                      <a:r>
                        <a:rPr lang="en-US" sz="1600" dirty="0"/>
                        <a:t>4. Unprofessional Interactions</a:t>
                      </a:r>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400" dirty="0"/>
                        <a:t>Tone, language, or behavior cross boundaries of respect or empathy. Even brief comments or nonverbal cues can damage a patient’s sense of safety and dignity.</a:t>
                      </a:r>
                    </a:p>
                  </a:txBody>
                  <a:tcPr/>
                </a:tc>
                <a:tc>
                  <a:txBody>
                    <a:bodyPr/>
                    <a:lstStyle/>
                    <a:p>
                      <a:r>
                        <a:rPr lang="en-US" sz="1400" dirty="0"/>
                        <a:t>9</a:t>
                      </a:r>
                    </a:p>
                  </a:txBody>
                  <a:tcPr/>
                </a:tc>
                <a:extLst>
                  <a:ext uri="{0D108BD9-81ED-4DB2-BD59-A6C34878D82A}">
                    <a16:rowId xmlns:a16="http://schemas.microsoft.com/office/drawing/2014/main" val="197174025"/>
                  </a:ext>
                </a:extLst>
              </a:tr>
              <a:tr h="697265">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600" dirty="0"/>
                        <a:t>5. Emotional Guarding </a:t>
                      </a:r>
                    </a:p>
                    <a:p>
                      <a:endParaRPr lang="en-US" sz="1600" dirty="0"/>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400" dirty="0"/>
                        <a:t>Withholding and withdrawal; loss of openness and trust after negative experiences. </a:t>
                      </a:r>
                    </a:p>
                    <a:p>
                      <a:pPr marL="0" marR="0" lvl="0" indent="0" algn="l" defTabSz="91440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r>
                        <a:rPr lang="en-US" sz="1400" dirty="0"/>
                        <a:t>8</a:t>
                      </a:r>
                    </a:p>
                  </a:txBody>
                  <a:tcPr/>
                </a:tc>
                <a:extLst>
                  <a:ext uri="{0D108BD9-81ED-4DB2-BD59-A6C34878D82A}">
                    <a16:rowId xmlns:a16="http://schemas.microsoft.com/office/drawing/2014/main" val="3014805979"/>
                  </a:ext>
                </a:extLst>
              </a:tr>
              <a:tr h="634330">
                <a:tc>
                  <a:txBody>
                    <a:bodyPr/>
                    <a:lstStyle/>
                    <a:p>
                      <a:r>
                        <a:rPr lang="en-US" sz="1600" dirty="0"/>
                        <a:t>6. Inadequate Support</a:t>
                      </a:r>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400" dirty="0"/>
                        <a:t>When emotional, informational, or practical needs go unmet during care. Patients are left feeling isolated or unseen, rather than empowered and understood.</a:t>
                      </a:r>
                    </a:p>
                    <a:p>
                      <a:pPr marL="0" marR="0" lvl="0" indent="0" algn="l" defTabSz="91440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r>
                        <a:rPr lang="en-US" sz="1400" dirty="0"/>
                        <a:t>7</a:t>
                      </a:r>
                    </a:p>
                  </a:txBody>
                  <a:tcPr/>
                </a:tc>
                <a:extLst>
                  <a:ext uri="{0D108BD9-81ED-4DB2-BD59-A6C34878D82A}">
                    <a16:rowId xmlns:a16="http://schemas.microsoft.com/office/drawing/2014/main" val="2964712495"/>
                  </a:ext>
                </a:extLst>
              </a:tr>
            </a:tbl>
          </a:graphicData>
        </a:graphic>
      </p:graphicFrame>
      <p:sp>
        <p:nvSpPr>
          <p:cNvPr id="6" name="TextBox 5">
            <a:extLst>
              <a:ext uri="{FF2B5EF4-FFF2-40B4-BE49-F238E27FC236}">
                <a16:creationId xmlns:a16="http://schemas.microsoft.com/office/drawing/2014/main" id="{50A5B4ED-9640-91D2-181A-DDE8DBE8C2F0}"/>
              </a:ext>
            </a:extLst>
          </p:cNvPr>
          <p:cNvSpPr txBox="1"/>
          <p:nvPr/>
        </p:nvSpPr>
        <p:spPr>
          <a:xfrm>
            <a:off x="684107" y="5800397"/>
            <a:ext cx="5908431" cy="276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hangingPunct="0"/>
            <a:r>
              <a:rPr lang="en-US" sz="1200" dirty="0">
                <a:solidFill>
                  <a:srgbClr val="777777"/>
                </a:solidFill>
                <a:latin typeface="Hind" panose="02000000000000000000" pitchFamily="2" charset="0"/>
                <a:ea typeface="Hind Bold"/>
                <a:cs typeface="Hind" panose="02000000000000000000" pitchFamily="2" charset="0"/>
                <a:sym typeface="Hind Bold"/>
              </a:rPr>
              <a:t>n</a:t>
            </a:r>
            <a:r>
              <a:rPr kumimoji="0" lang="en-US" sz="1200" b="0" i="0" u="none" strike="noStrike" cap="none" spc="0" normalizeH="0" baseline="0" dirty="0">
                <a:ln>
                  <a:noFill/>
                </a:ln>
                <a:solidFill>
                  <a:srgbClr val="777777"/>
                </a:solidFill>
                <a:effectLst/>
                <a:uFillTx/>
                <a:latin typeface="Hind" panose="02000000000000000000" pitchFamily="2" charset="0"/>
                <a:ea typeface="Hind Bold"/>
                <a:cs typeface="Hind" panose="02000000000000000000" pitchFamily="2" charset="0"/>
                <a:sym typeface="Hind Bold"/>
              </a:rPr>
              <a:t> = </a:t>
            </a:r>
            <a:r>
              <a:rPr lang="en-US" sz="1200" dirty="0">
                <a:solidFill>
                  <a:srgbClr val="777777"/>
                </a:solidFill>
                <a:latin typeface="Hind" panose="02000000000000000000" pitchFamily="2" charset="0"/>
                <a:cs typeface="Hind" panose="02000000000000000000" pitchFamily="2" charset="0"/>
              </a:rPr>
              <a:t>Number</a:t>
            </a:r>
            <a:r>
              <a:rPr lang="en-US" sz="1200" spc="75" dirty="0">
                <a:solidFill>
                  <a:srgbClr val="777777"/>
                </a:solidFill>
                <a:latin typeface="Hind" panose="02000000000000000000" pitchFamily="2" charset="0"/>
                <a:cs typeface="Hind" panose="02000000000000000000" pitchFamily="2" charset="0"/>
              </a:rPr>
              <a:t> </a:t>
            </a:r>
            <a:r>
              <a:rPr lang="en-US" sz="1200" dirty="0">
                <a:solidFill>
                  <a:srgbClr val="777777"/>
                </a:solidFill>
                <a:latin typeface="Hind" panose="02000000000000000000" pitchFamily="2" charset="0"/>
                <a:cs typeface="Hind" panose="02000000000000000000" pitchFamily="2" charset="0"/>
              </a:rPr>
              <a:t>of</a:t>
            </a:r>
            <a:r>
              <a:rPr lang="en-US" sz="1200" spc="85" dirty="0">
                <a:solidFill>
                  <a:srgbClr val="777777"/>
                </a:solidFill>
                <a:latin typeface="Hind" panose="02000000000000000000" pitchFamily="2" charset="0"/>
                <a:cs typeface="Hind" panose="02000000000000000000" pitchFamily="2" charset="0"/>
              </a:rPr>
              <a:t> </a:t>
            </a:r>
            <a:r>
              <a:rPr lang="en-US" sz="1200" dirty="0">
                <a:solidFill>
                  <a:srgbClr val="777777"/>
                </a:solidFill>
                <a:latin typeface="Hind" panose="02000000000000000000" pitchFamily="2" charset="0"/>
                <a:cs typeface="Hind" panose="02000000000000000000" pitchFamily="2" charset="0"/>
              </a:rPr>
              <a:t>instances</a:t>
            </a:r>
            <a:r>
              <a:rPr lang="en-US" sz="1200" spc="85" dirty="0">
                <a:solidFill>
                  <a:srgbClr val="777777"/>
                </a:solidFill>
                <a:latin typeface="Hind" panose="02000000000000000000" pitchFamily="2" charset="0"/>
                <a:cs typeface="Hind" panose="02000000000000000000" pitchFamily="2" charset="0"/>
              </a:rPr>
              <a:t> </a:t>
            </a:r>
            <a:r>
              <a:rPr lang="en-US" sz="1200" dirty="0">
                <a:solidFill>
                  <a:srgbClr val="777777"/>
                </a:solidFill>
                <a:latin typeface="Hind" panose="02000000000000000000" pitchFamily="2" charset="0"/>
                <a:cs typeface="Hind" panose="02000000000000000000" pitchFamily="2" charset="0"/>
              </a:rPr>
              <a:t>when</a:t>
            </a:r>
            <a:r>
              <a:rPr lang="en-US" sz="1200" spc="85" dirty="0">
                <a:solidFill>
                  <a:srgbClr val="777777"/>
                </a:solidFill>
                <a:latin typeface="Hind" panose="02000000000000000000" pitchFamily="2" charset="0"/>
                <a:cs typeface="Hind" panose="02000000000000000000" pitchFamily="2" charset="0"/>
              </a:rPr>
              <a:t> </a:t>
            </a:r>
            <a:r>
              <a:rPr lang="en-US" sz="1200" dirty="0">
                <a:solidFill>
                  <a:srgbClr val="777777"/>
                </a:solidFill>
                <a:latin typeface="Hind" panose="02000000000000000000" pitchFamily="2" charset="0"/>
                <a:cs typeface="Hind" panose="02000000000000000000" pitchFamily="2" charset="0"/>
              </a:rPr>
              <a:t>the</a:t>
            </a:r>
            <a:r>
              <a:rPr lang="en-US" sz="1200" spc="90" dirty="0">
                <a:solidFill>
                  <a:srgbClr val="777777"/>
                </a:solidFill>
                <a:latin typeface="Hind" panose="02000000000000000000" pitchFamily="2" charset="0"/>
                <a:cs typeface="Hind" panose="02000000000000000000" pitchFamily="2" charset="0"/>
              </a:rPr>
              <a:t> </a:t>
            </a:r>
            <a:r>
              <a:rPr lang="en-US" sz="1200" dirty="0">
                <a:solidFill>
                  <a:srgbClr val="777777"/>
                </a:solidFill>
                <a:latin typeface="Hind" panose="02000000000000000000" pitchFamily="2" charset="0"/>
                <a:cs typeface="Hind" panose="02000000000000000000" pitchFamily="2" charset="0"/>
              </a:rPr>
              <a:t>specific</a:t>
            </a:r>
            <a:r>
              <a:rPr lang="en-US" sz="1200" spc="90" dirty="0">
                <a:solidFill>
                  <a:srgbClr val="777777"/>
                </a:solidFill>
                <a:latin typeface="Hind" panose="02000000000000000000" pitchFamily="2" charset="0"/>
                <a:cs typeface="Hind" panose="02000000000000000000" pitchFamily="2" charset="0"/>
              </a:rPr>
              <a:t> </a:t>
            </a:r>
            <a:r>
              <a:rPr lang="en-US" sz="1200" dirty="0">
                <a:solidFill>
                  <a:srgbClr val="777777"/>
                </a:solidFill>
                <a:latin typeface="Hind" panose="02000000000000000000" pitchFamily="2" charset="0"/>
                <a:cs typeface="Hind" panose="02000000000000000000" pitchFamily="2" charset="0"/>
              </a:rPr>
              <a:t>theme</a:t>
            </a:r>
            <a:r>
              <a:rPr lang="en-US" sz="1200" spc="90" dirty="0">
                <a:solidFill>
                  <a:srgbClr val="777777"/>
                </a:solidFill>
                <a:latin typeface="Hind" panose="02000000000000000000" pitchFamily="2" charset="0"/>
                <a:cs typeface="Hind" panose="02000000000000000000" pitchFamily="2" charset="0"/>
              </a:rPr>
              <a:t> </a:t>
            </a:r>
            <a:r>
              <a:rPr lang="en-US" sz="1200" dirty="0">
                <a:solidFill>
                  <a:srgbClr val="777777"/>
                </a:solidFill>
                <a:latin typeface="Hind" panose="02000000000000000000" pitchFamily="2" charset="0"/>
                <a:cs typeface="Hind" panose="02000000000000000000" pitchFamily="2" charset="0"/>
              </a:rPr>
              <a:t>was</a:t>
            </a:r>
            <a:r>
              <a:rPr lang="en-US" sz="1200" spc="90" dirty="0">
                <a:solidFill>
                  <a:srgbClr val="777777"/>
                </a:solidFill>
                <a:latin typeface="Hind" panose="02000000000000000000" pitchFamily="2" charset="0"/>
                <a:cs typeface="Hind" panose="02000000000000000000" pitchFamily="2" charset="0"/>
              </a:rPr>
              <a:t> </a:t>
            </a:r>
            <a:r>
              <a:rPr lang="en-US" sz="1200" dirty="0">
                <a:solidFill>
                  <a:srgbClr val="777777"/>
                </a:solidFill>
                <a:latin typeface="Hind" panose="02000000000000000000" pitchFamily="2" charset="0"/>
                <a:cs typeface="Hind" panose="02000000000000000000" pitchFamily="2" charset="0"/>
              </a:rPr>
              <a:t>discussed in shared stories </a:t>
            </a:r>
            <a:r>
              <a:rPr lang="en-US" sz="1200" spc="70" dirty="0">
                <a:solidFill>
                  <a:srgbClr val="777777"/>
                </a:solidFill>
                <a:latin typeface="Hind" panose="02000000000000000000" pitchFamily="2" charset="0"/>
                <a:cs typeface="Hind" panose="02000000000000000000" pitchFamily="2" charset="0"/>
              </a:rPr>
              <a:t> </a:t>
            </a:r>
            <a:endParaRPr kumimoji="0" lang="en-US" sz="1200" b="0" i="0" u="none" strike="noStrike" cap="none" spc="0" normalizeH="0" baseline="0" dirty="0">
              <a:ln>
                <a:noFill/>
              </a:ln>
              <a:solidFill>
                <a:srgbClr val="777777"/>
              </a:solidFill>
              <a:effectLst/>
              <a:uFillTx/>
              <a:latin typeface="Hind" panose="02000000000000000000" pitchFamily="2" charset="0"/>
              <a:ea typeface="Hind Bold"/>
              <a:cs typeface="Hind" panose="02000000000000000000" pitchFamily="2" charset="0"/>
              <a:sym typeface="Hind Bold"/>
            </a:endParaRPr>
          </a:p>
        </p:txBody>
      </p:sp>
      <p:sp>
        <p:nvSpPr>
          <p:cNvPr id="8" name="TextBox 7">
            <a:extLst>
              <a:ext uri="{FF2B5EF4-FFF2-40B4-BE49-F238E27FC236}">
                <a16:creationId xmlns:a16="http://schemas.microsoft.com/office/drawing/2014/main" id="{F3FC9FAE-8DAF-6E59-65AD-CDE3EC9A8276}"/>
              </a:ext>
            </a:extLst>
          </p:cNvPr>
          <p:cNvSpPr txBox="1"/>
          <p:nvPr/>
        </p:nvSpPr>
        <p:spPr>
          <a:xfrm>
            <a:off x="10902163" y="5800396"/>
            <a:ext cx="1456267" cy="276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696F70"/>
                </a:solidFill>
                <a:effectLst/>
                <a:uFillTx/>
                <a:latin typeface="Hind" panose="02000000000000000000" pitchFamily="2" charset="0"/>
                <a:ea typeface="Hind Bold"/>
                <a:cs typeface="Hind" panose="02000000000000000000" pitchFamily="2" charset="0"/>
                <a:sym typeface="Hind Bold"/>
              </a:rPr>
              <a:t>n = 53</a:t>
            </a:r>
          </a:p>
        </p:txBody>
      </p:sp>
      <p:sp>
        <p:nvSpPr>
          <p:cNvPr id="4" name="Rectangle 3">
            <a:extLst>
              <a:ext uri="{FF2B5EF4-FFF2-40B4-BE49-F238E27FC236}">
                <a16:creationId xmlns:a16="http://schemas.microsoft.com/office/drawing/2014/main" id="{5DA0BEA5-B6AD-C2A7-3CDB-BBB0E5DA0AD1}"/>
              </a:ext>
            </a:extLst>
          </p:cNvPr>
          <p:cNvSpPr/>
          <p:nvPr/>
        </p:nvSpPr>
        <p:spPr>
          <a:xfrm>
            <a:off x="684108" y="1029436"/>
            <a:ext cx="10701866" cy="461661"/>
          </a:xfrm>
          <a:prstGeom prst="rect">
            <a:avLst/>
          </a:prstGeom>
          <a:solidFill>
            <a:srgbClr val="B1DFE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algn="ctr" hangingPunct="0"/>
            <a:r>
              <a:rPr lang="en-US" sz="2400" b="1" i="1" dirty="0">
                <a:solidFill>
                  <a:schemeClr val="bg1"/>
                </a:solidFill>
                <a:latin typeface="Hind" panose="02000000000000000000" pitchFamily="2" charset="0"/>
                <a:ea typeface="Hind Bold"/>
                <a:cs typeface="Hind" panose="02000000000000000000" pitchFamily="2" charset="0"/>
                <a:sym typeface="Hind Bold"/>
              </a:rPr>
              <a:t>Frequency of Identified Themes Across Participant Responses</a:t>
            </a:r>
          </a:p>
        </p:txBody>
      </p:sp>
    </p:spTree>
    <p:extLst>
      <p:ext uri="{BB962C8B-B14F-4D97-AF65-F5344CB8AC3E}">
        <p14:creationId xmlns:p14="http://schemas.microsoft.com/office/powerpoint/2010/main" val="266707175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997BB3-71A4-3222-CB93-B8D8FCAC23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B3347C-F76B-51DB-802B-719D9E952F42}"/>
              </a:ext>
            </a:extLst>
          </p:cNvPr>
          <p:cNvSpPr>
            <a:spLocks noGrp="1"/>
          </p:cNvSpPr>
          <p:nvPr>
            <p:ph type="title"/>
          </p:nvPr>
        </p:nvSpPr>
        <p:spPr/>
        <p:txBody>
          <a:bodyPr/>
          <a:lstStyle/>
          <a:p>
            <a:r>
              <a:rPr lang="en-US" dirty="0"/>
              <a:t>Key Takeaways</a:t>
            </a:r>
          </a:p>
        </p:txBody>
      </p:sp>
      <p:sp>
        <p:nvSpPr>
          <p:cNvPr id="3" name="TextBox 2">
            <a:extLst>
              <a:ext uri="{FF2B5EF4-FFF2-40B4-BE49-F238E27FC236}">
                <a16:creationId xmlns:a16="http://schemas.microsoft.com/office/drawing/2014/main" id="{5FAC81AE-EDF2-952E-6D17-54D0022D4D6D}"/>
              </a:ext>
            </a:extLst>
          </p:cNvPr>
          <p:cNvSpPr txBox="1"/>
          <p:nvPr/>
        </p:nvSpPr>
        <p:spPr>
          <a:xfrm>
            <a:off x="648657" y="800471"/>
            <a:ext cx="10806356" cy="350864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t" anchorCtr="0" forceAA="0" compatLnSpc="1">
            <a:prstTxWarp prst="textNoShape">
              <a:avLst/>
            </a:prstTxWarp>
            <a:spAutoFit/>
          </a:bodyPr>
          <a:lstStyle/>
          <a:p>
            <a:pPr marL="171450" indent="-171450">
              <a:lnSpc>
                <a:spcPct val="150000"/>
              </a:lnSpc>
              <a:buFont typeface="Arial" panose="020B0604020202020204" pitchFamily="34" charset="0"/>
              <a:buChar char="•"/>
            </a:pPr>
            <a:r>
              <a:rPr lang="en-US" sz="2000" dirty="0">
                <a:solidFill>
                  <a:srgbClr val="777777"/>
                </a:solidFill>
                <a:latin typeface="Hind"/>
                <a:cs typeface="Hind"/>
              </a:rPr>
              <a:t>Every interaction matters — even brief or subtle comments can leave lasting emotional impact</a:t>
            </a:r>
            <a:endParaRPr lang="en-US" dirty="0"/>
          </a:p>
          <a:p>
            <a:pPr marL="171450" indent="-171450">
              <a:lnSpc>
                <a:spcPct val="150000"/>
              </a:lnSpc>
              <a:buFont typeface="Arial" panose="020B0604020202020204" pitchFamily="34" charset="0"/>
              <a:buChar char="•"/>
            </a:pPr>
            <a:r>
              <a:rPr lang="en-US" sz="2000" dirty="0">
                <a:solidFill>
                  <a:srgbClr val="777777"/>
                </a:solidFill>
                <a:latin typeface="Hind"/>
                <a:cs typeface="Hind"/>
              </a:rPr>
              <a:t>Clinicians and clinic staff hold immense power to shape how people feel about themselves and their care</a:t>
            </a:r>
          </a:p>
          <a:p>
            <a:pPr marL="171450" indent="-171450">
              <a:lnSpc>
                <a:spcPct val="150000"/>
              </a:lnSpc>
              <a:buFont typeface="Arial" panose="020B0604020202020204" pitchFamily="34" charset="0"/>
              <a:buChar char="•"/>
            </a:pPr>
            <a:r>
              <a:rPr lang="en-US" sz="2000" dirty="0">
                <a:solidFill>
                  <a:srgbClr val="777777"/>
                </a:solidFill>
                <a:latin typeface="Hind"/>
                <a:cs typeface="Hind"/>
              </a:rPr>
              <a:t>These encounters are more common and more harmful than many realize — awareness is the first step toward change.</a:t>
            </a:r>
          </a:p>
          <a:p>
            <a:pPr marL="171450" indent="-171450">
              <a:lnSpc>
                <a:spcPct val="150000"/>
              </a:lnSpc>
              <a:buFont typeface="Arial" panose="020B0604020202020204" pitchFamily="34" charset="0"/>
              <a:buChar char="•"/>
            </a:pPr>
            <a:r>
              <a:rPr lang="en-US" sz="2000" dirty="0">
                <a:solidFill>
                  <a:srgbClr val="777777"/>
                </a:solidFill>
                <a:latin typeface="Hind"/>
                <a:cs typeface="Hind"/>
              </a:rPr>
              <a:t>People with T1D face frustrations beyond the clinic (insurance, cost, stigma) — compassionate, empathetic care helps lighten that burden</a:t>
            </a:r>
          </a:p>
          <a:p>
            <a:pPr marL="171450" indent="-171450">
              <a:buFontTx/>
              <a:buChar char="-"/>
            </a:pPr>
            <a:endParaRPr lang="en-US" sz="1200" dirty="0">
              <a:solidFill>
                <a:srgbClr val="777777"/>
              </a:solidFill>
              <a:latin typeface="Hind" panose="02000000000000000000" pitchFamily="2" charset="0"/>
              <a:ea typeface="Hind Bold"/>
              <a:cs typeface="Hind" panose="02000000000000000000" pitchFamily="2" charset="0"/>
            </a:endParaRPr>
          </a:p>
        </p:txBody>
      </p:sp>
    </p:spTree>
    <p:extLst>
      <p:ext uri="{BB962C8B-B14F-4D97-AF65-F5344CB8AC3E}">
        <p14:creationId xmlns:p14="http://schemas.microsoft.com/office/powerpoint/2010/main" val="43219511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FF2FB3-3F1E-94A5-3966-8E7057DF63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892C67-8991-E2E3-A070-BFE58FD2E14F}"/>
              </a:ext>
            </a:extLst>
          </p:cNvPr>
          <p:cNvSpPr>
            <a:spLocks noGrp="1"/>
          </p:cNvSpPr>
          <p:nvPr>
            <p:ph type="title"/>
          </p:nvPr>
        </p:nvSpPr>
        <p:spPr/>
        <p:txBody>
          <a:bodyPr/>
          <a:lstStyle/>
          <a:p>
            <a:r>
              <a:rPr lang="en-US" dirty="0"/>
              <a:t>How You Can Make a Difference</a:t>
            </a:r>
          </a:p>
        </p:txBody>
      </p:sp>
      <p:sp>
        <p:nvSpPr>
          <p:cNvPr id="3" name="TextBox 2">
            <a:extLst>
              <a:ext uri="{FF2B5EF4-FFF2-40B4-BE49-F238E27FC236}">
                <a16:creationId xmlns:a16="http://schemas.microsoft.com/office/drawing/2014/main" id="{7AE8B465-1F91-863E-EF39-7C680D417CE3}"/>
              </a:ext>
            </a:extLst>
          </p:cNvPr>
          <p:cNvSpPr txBox="1"/>
          <p:nvPr/>
        </p:nvSpPr>
        <p:spPr>
          <a:xfrm>
            <a:off x="648657" y="800471"/>
            <a:ext cx="10806356" cy="33239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t" anchorCtr="0" forceAA="0" compatLnSpc="1">
            <a:prstTxWarp prst="textNoShape">
              <a:avLst/>
            </a:prstTxWarp>
            <a:spAutoFit/>
          </a:bodyPr>
          <a:lstStyle/>
          <a:p>
            <a:pPr marL="171450" indent="-171450">
              <a:lnSpc>
                <a:spcPct val="150000"/>
              </a:lnSpc>
              <a:buFont typeface="Arial" panose="020B0604020202020204" pitchFamily="34" charset="0"/>
              <a:buChar char="•"/>
            </a:pPr>
            <a:r>
              <a:rPr lang="en-US" sz="2000" dirty="0">
                <a:solidFill>
                  <a:srgbClr val="777777"/>
                </a:solidFill>
                <a:cs typeface="Hind"/>
              </a:rPr>
              <a:t>Regardless of specialty or role, </a:t>
            </a:r>
            <a:r>
              <a:rPr lang="en-US" sz="2000" b="1" dirty="0">
                <a:solidFill>
                  <a:srgbClr val="777777"/>
                </a:solidFill>
                <a:cs typeface="Hind"/>
              </a:rPr>
              <a:t>basic human decency and respect</a:t>
            </a:r>
            <a:r>
              <a:rPr lang="en-US" sz="2000" dirty="0">
                <a:solidFill>
                  <a:srgbClr val="777777"/>
                </a:solidFill>
                <a:cs typeface="Hind"/>
              </a:rPr>
              <a:t> builds trust</a:t>
            </a:r>
          </a:p>
          <a:p>
            <a:pPr marL="171450" indent="-171450">
              <a:lnSpc>
                <a:spcPct val="150000"/>
              </a:lnSpc>
              <a:buFont typeface="Arial" panose="020B0604020202020204" pitchFamily="34" charset="0"/>
              <a:buChar char="•"/>
            </a:pPr>
            <a:r>
              <a:rPr lang="en-US" sz="2000" dirty="0">
                <a:solidFill>
                  <a:srgbClr val="777777"/>
                </a:solidFill>
                <a:cs typeface="Hind"/>
              </a:rPr>
              <a:t>Your empathy and respect ripple outward — influencing staff, trainees, and other providers</a:t>
            </a:r>
          </a:p>
          <a:p>
            <a:pPr marL="171450" indent="-171450">
              <a:lnSpc>
                <a:spcPct val="150000"/>
              </a:lnSpc>
              <a:buFont typeface="Arial" panose="020B0604020202020204" pitchFamily="34" charset="0"/>
              <a:buChar char="•"/>
            </a:pPr>
            <a:r>
              <a:rPr lang="en-US" sz="2000" dirty="0">
                <a:solidFill>
                  <a:srgbClr val="777777"/>
                </a:solidFill>
                <a:cs typeface="Hind"/>
              </a:rPr>
              <a:t>Lead with </a:t>
            </a:r>
            <a:r>
              <a:rPr lang="en-US" sz="2000" b="1" dirty="0">
                <a:solidFill>
                  <a:srgbClr val="777777"/>
                </a:solidFill>
                <a:cs typeface="Hind"/>
              </a:rPr>
              <a:t>active listening, empathy, and respect</a:t>
            </a:r>
          </a:p>
          <a:p>
            <a:pPr marL="171450" indent="-171450">
              <a:lnSpc>
                <a:spcPct val="150000"/>
              </a:lnSpc>
              <a:buFont typeface="Arial" panose="020B0604020202020204" pitchFamily="34" charset="0"/>
              <a:buChar char="•"/>
            </a:pPr>
            <a:r>
              <a:rPr lang="en-US" sz="2000" dirty="0">
                <a:solidFill>
                  <a:srgbClr val="777777"/>
                </a:solidFill>
                <a:cs typeface="Hind"/>
              </a:rPr>
              <a:t>Celebrate progress, validate emotions, and model compassion across your team</a:t>
            </a:r>
          </a:p>
          <a:p>
            <a:pPr marL="171450" indent="-171450">
              <a:lnSpc>
                <a:spcPct val="150000"/>
              </a:lnSpc>
              <a:buFont typeface="Arial" panose="020B0604020202020204" pitchFamily="34" charset="0"/>
              <a:buChar char="•"/>
            </a:pPr>
            <a:r>
              <a:rPr lang="en-US" sz="2000" b="1" dirty="0">
                <a:solidFill>
                  <a:srgbClr val="777777"/>
                </a:solidFill>
                <a:cs typeface="Hind"/>
              </a:rPr>
              <a:t>Aim for every person to leave your clinic feeling heard, safe, and respected</a:t>
            </a:r>
          </a:p>
          <a:p>
            <a:pPr marL="171450" indent="-171450">
              <a:lnSpc>
                <a:spcPct val="150000"/>
              </a:lnSpc>
              <a:buFont typeface="Arial" panose="020B0604020202020204" pitchFamily="34" charset="0"/>
              <a:buChar char="•"/>
            </a:pPr>
            <a:r>
              <a:rPr lang="en-US" sz="2000" dirty="0">
                <a:solidFill>
                  <a:srgbClr val="777777"/>
                </a:solidFill>
                <a:cs typeface="Hind"/>
              </a:rPr>
              <a:t>Be mindful of bias or stigma when interviewing candidates to help create a positive, welcoming work environment</a:t>
            </a:r>
            <a:endParaRPr lang="en-US" sz="1200" dirty="0">
              <a:solidFill>
                <a:srgbClr val="777777"/>
              </a:solidFill>
              <a:latin typeface="Hind" panose="02000000000000000000" pitchFamily="2" charset="0"/>
              <a:ea typeface="Hind Bold"/>
              <a:cs typeface="Hind" panose="02000000000000000000" pitchFamily="2" charset="0"/>
            </a:endParaRPr>
          </a:p>
        </p:txBody>
      </p:sp>
    </p:spTree>
    <p:extLst>
      <p:ext uri="{BB962C8B-B14F-4D97-AF65-F5344CB8AC3E}">
        <p14:creationId xmlns:p14="http://schemas.microsoft.com/office/powerpoint/2010/main" val="412304263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1484C-D77C-BCC6-0D72-F819E07621F7}"/>
            </a:ext>
          </a:extLst>
        </p:cNvPr>
        <p:cNvGrpSpPr/>
        <p:nvPr/>
      </p:nvGrpSpPr>
      <p:grpSpPr>
        <a:xfrm>
          <a:off x="0" y="0"/>
          <a:ext cx="0" cy="0"/>
          <a:chOff x="0" y="0"/>
          <a:chExt cx="0" cy="0"/>
        </a:xfrm>
      </p:grpSpPr>
      <p:pic>
        <p:nvPicPr>
          <p:cNvPr id="6" name="Picture 5" descr="A picture containing filled, group, bunch, many&#10;&#10;Description automatically generated">
            <a:extLst>
              <a:ext uri="{FF2B5EF4-FFF2-40B4-BE49-F238E27FC236}">
                <a16:creationId xmlns:a16="http://schemas.microsoft.com/office/drawing/2014/main" id="{574B0FFF-9C82-9CA7-B218-071A6E4312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529FC297-8FC7-614A-C5F2-FDB383A46A1A}"/>
              </a:ext>
            </a:extLst>
          </p:cNvPr>
          <p:cNvSpPr/>
          <p:nvPr/>
        </p:nvSpPr>
        <p:spPr>
          <a:xfrm>
            <a:off x="0" y="2090928"/>
            <a:ext cx="12192000" cy="2676144"/>
          </a:xfrm>
          <a:prstGeom prst="rect">
            <a:avLst/>
          </a:prstGeom>
          <a:solidFill>
            <a:srgbClr val="FFFFFF">
              <a:alpha val="87000"/>
            </a:srgbClr>
          </a:solidFill>
          <a:ln w="25400" cap="flat">
            <a:noFill/>
            <a:prstDash val="solid"/>
            <a:round/>
          </a:ln>
          <a:effectLst>
            <a:outerShdw dist="23000" sx="1000" sy="1000" rotWithShape="0">
              <a:srgbClr val="000000"/>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47616E"/>
              </a:solidFill>
              <a:effectLst/>
              <a:uFillTx/>
              <a:latin typeface="Hind Regular"/>
              <a:ea typeface="Hind Regular"/>
              <a:cs typeface="Hind Regular"/>
              <a:sym typeface="Hind Regular"/>
            </a:endParaRPr>
          </a:p>
        </p:txBody>
      </p:sp>
      <p:sp>
        <p:nvSpPr>
          <p:cNvPr id="11" name="TextBox 10">
            <a:extLst>
              <a:ext uri="{FF2B5EF4-FFF2-40B4-BE49-F238E27FC236}">
                <a16:creationId xmlns:a16="http://schemas.microsoft.com/office/drawing/2014/main" id="{C80889E8-7BD1-CDFA-A365-CE91194E2E7C}"/>
              </a:ext>
            </a:extLst>
          </p:cNvPr>
          <p:cNvSpPr txBox="1"/>
          <p:nvPr/>
        </p:nvSpPr>
        <p:spPr>
          <a:xfrm>
            <a:off x="4990286" y="2828837"/>
            <a:ext cx="2211427" cy="12003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US" sz="7200" b="1">
                <a:solidFill>
                  <a:srgbClr val="3E4E8D"/>
                </a:solidFill>
                <a:latin typeface="Montserrat SemiBold"/>
                <a:cs typeface="Hind Bold"/>
                <a:sym typeface="Hind Bold"/>
              </a:rPr>
              <a:t>Q&amp;A</a:t>
            </a:r>
            <a:endParaRPr lang="en-US" sz="7200"/>
          </a:p>
        </p:txBody>
      </p:sp>
      <p:sp>
        <p:nvSpPr>
          <p:cNvPr id="2" name="TextBox 1">
            <a:extLst>
              <a:ext uri="{FF2B5EF4-FFF2-40B4-BE49-F238E27FC236}">
                <a16:creationId xmlns:a16="http://schemas.microsoft.com/office/drawing/2014/main" id="{63C6411A-FA35-9E32-C7B8-24BE18B4DDE7}"/>
              </a:ext>
            </a:extLst>
          </p:cNvPr>
          <p:cNvSpPr txBox="1"/>
          <p:nvPr/>
        </p:nvSpPr>
        <p:spPr>
          <a:xfrm>
            <a:off x="8599714" y="4397744"/>
            <a:ext cx="5159829" cy="369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b="0" u="none" strike="noStrike" cap="none" spc="0" normalizeH="0" baseline="0" dirty="0">
                <a:ln>
                  <a:noFill/>
                </a:ln>
                <a:solidFill>
                  <a:srgbClr val="696F70"/>
                </a:solidFill>
                <a:effectLst/>
                <a:uFillTx/>
                <a:ea typeface="Hind Bold"/>
                <a:cs typeface="Hind Bold"/>
                <a:sym typeface="Hind Bold"/>
              </a:rPr>
              <a:t>Contact: </a:t>
            </a:r>
            <a:r>
              <a:rPr kumimoji="0" lang="en-US" b="0" u="none" strike="noStrike" cap="none" spc="0" normalizeH="0" baseline="0" dirty="0">
                <a:ln>
                  <a:noFill/>
                </a:ln>
                <a:solidFill>
                  <a:srgbClr val="696F70"/>
                </a:solidFill>
                <a:effectLst/>
                <a:uFillTx/>
                <a:ea typeface="Hind Bold"/>
                <a:cs typeface="Hind Bold"/>
                <a:sym typeface="Hind Bold"/>
                <a:hlinkClick r:id="rId4"/>
              </a:rPr>
              <a:t>crainey@t1dexchange.org</a:t>
            </a:r>
            <a:r>
              <a:rPr kumimoji="0" lang="en-US" b="0" u="none" strike="noStrike" cap="none" spc="0" normalizeH="0" baseline="0" dirty="0">
                <a:ln>
                  <a:noFill/>
                </a:ln>
                <a:solidFill>
                  <a:srgbClr val="696F70"/>
                </a:solidFill>
                <a:effectLst/>
                <a:uFillTx/>
                <a:ea typeface="Hind Bold"/>
                <a:cs typeface="Hind Bold"/>
                <a:sym typeface="Hind Bold"/>
              </a:rPr>
              <a:t> </a:t>
            </a:r>
          </a:p>
        </p:txBody>
      </p:sp>
    </p:spTree>
    <p:extLst>
      <p:ext uri="{BB962C8B-B14F-4D97-AF65-F5344CB8AC3E}">
        <p14:creationId xmlns:p14="http://schemas.microsoft.com/office/powerpoint/2010/main" val="388141633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487D0-C5F1-37CA-1E7D-1D75CAC2001B}"/>
            </a:ext>
          </a:extLst>
        </p:cNvPr>
        <p:cNvGrpSpPr/>
        <p:nvPr/>
      </p:nvGrpSpPr>
      <p:grpSpPr>
        <a:xfrm>
          <a:off x="0" y="0"/>
          <a:ext cx="0" cy="0"/>
          <a:chOff x="0" y="0"/>
          <a:chExt cx="0" cy="0"/>
        </a:xfrm>
      </p:grpSpPr>
    </p:spTree>
    <p:extLst>
      <p:ext uri="{BB962C8B-B14F-4D97-AF65-F5344CB8AC3E}">
        <p14:creationId xmlns:p14="http://schemas.microsoft.com/office/powerpoint/2010/main" val="2646243204"/>
      </p:ext>
    </p:extLst>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12D59"/>
        </a:solidFill>
        <a:effectLst/>
      </p:bgPr>
    </p:bg>
    <p:spTree>
      <p:nvGrpSpPr>
        <p:cNvPr id="1" name="">
          <a:extLst>
            <a:ext uri="{FF2B5EF4-FFF2-40B4-BE49-F238E27FC236}">
              <a16:creationId xmlns:a16="http://schemas.microsoft.com/office/drawing/2014/main" id="{F77C0422-BA26-51A3-3566-95174FF057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473C4A-C6D0-F032-88DA-F95F579EB6FF}"/>
              </a:ext>
            </a:extLst>
          </p:cNvPr>
          <p:cNvSpPr>
            <a:spLocks noGrp="1"/>
          </p:cNvSpPr>
          <p:nvPr>
            <p:ph type="title"/>
          </p:nvPr>
        </p:nvSpPr>
        <p:spPr>
          <a:xfrm>
            <a:off x="817418" y="399761"/>
            <a:ext cx="10515600" cy="1630363"/>
          </a:xfrm>
        </p:spPr>
        <p:txBody>
          <a:bodyPr>
            <a:normAutofit fontScale="90000"/>
          </a:bodyPr>
          <a:lstStyle/>
          <a:p>
            <a:pPr>
              <a:lnSpc>
                <a:spcPct val="150000"/>
              </a:lnSpc>
              <a:spcBef>
                <a:spcPts val="0"/>
              </a:spcBef>
            </a:pPr>
            <a:br>
              <a:rPr lang="en-US" sz="2400">
                <a:solidFill>
                  <a:srgbClr val="79E5FA"/>
                </a:solidFill>
                <a:latin typeface="Arial Black"/>
              </a:rPr>
            </a:br>
            <a:r>
              <a:rPr lang="en-US" sz="6000">
                <a:solidFill>
                  <a:srgbClr val="79E5FA"/>
                </a:solidFill>
                <a:latin typeface="Montserrat Black"/>
              </a:rPr>
              <a:t>Section Header Here</a:t>
            </a:r>
            <a:br>
              <a:rPr lang="en-US" sz="6000">
                <a:solidFill>
                  <a:srgbClr val="79E5FA"/>
                </a:solidFill>
                <a:latin typeface="Montserrat Black"/>
              </a:rPr>
            </a:br>
            <a:r>
              <a:rPr lang="en-US" sz="2700" i="1">
                <a:solidFill>
                  <a:srgbClr val="79E5FA"/>
                </a:solidFill>
                <a:latin typeface="Montserrat"/>
              </a:rPr>
              <a:t>Subtitle Here</a:t>
            </a:r>
          </a:p>
          <a:p>
            <a:endParaRPr lang="en-US"/>
          </a:p>
        </p:txBody>
      </p:sp>
      <p:cxnSp>
        <p:nvCxnSpPr>
          <p:cNvPr id="7" name="Straight Arrow Connector 6">
            <a:extLst>
              <a:ext uri="{FF2B5EF4-FFF2-40B4-BE49-F238E27FC236}">
                <a16:creationId xmlns:a16="http://schemas.microsoft.com/office/drawing/2014/main" id="{FF493A8A-DA4D-93FE-986D-7522E5297BA1}"/>
              </a:ext>
            </a:extLst>
          </p:cNvPr>
          <p:cNvCxnSpPr/>
          <p:nvPr/>
        </p:nvCxnSpPr>
        <p:spPr>
          <a:xfrm flipV="1">
            <a:off x="886692" y="1364673"/>
            <a:ext cx="7737763" cy="13855"/>
          </a:xfrm>
          <a:prstGeom prst="straightConnector1">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4" name="Rectangle 3">
            <a:extLst>
              <a:ext uri="{FF2B5EF4-FFF2-40B4-BE49-F238E27FC236}">
                <a16:creationId xmlns:a16="http://schemas.microsoft.com/office/drawing/2014/main" id="{5982C359-AB54-2659-93A6-DBBD498D05B5}"/>
              </a:ext>
            </a:extLst>
          </p:cNvPr>
          <p:cNvSpPr/>
          <p:nvPr/>
        </p:nvSpPr>
        <p:spPr>
          <a:xfrm>
            <a:off x="676750" y="502788"/>
            <a:ext cx="10843843" cy="5847476"/>
          </a:xfrm>
          <a:prstGeom prst="rect">
            <a:avLst/>
          </a:prstGeom>
          <a:solidFill>
            <a:schemeClr val="bg1"/>
          </a:solidFill>
          <a:ln>
            <a:noFill/>
          </a:ln>
          <a:effectLst>
            <a:outerShdw blurRad="279400" dist="1778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Title 1">
            <a:extLst>
              <a:ext uri="{FF2B5EF4-FFF2-40B4-BE49-F238E27FC236}">
                <a16:creationId xmlns:a16="http://schemas.microsoft.com/office/drawing/2014/main" id="{0AADCC8E-737D-D75D-7ADA-30825A67426C}"/>
              </a:ext>
            </a:extLst>
          </p:cNvPr>
          <p:cNvSpPr txBox="1">
            <a:spLocks/>
          </p:cNvSpPr>
          <p:nvPr/>
        </p:nvSpPr>
        <p:spPr>
          <a:xfrm>
            <a:off x="2290781" y="3011094"/>
            <a:ext cx="7560148" cy="1011547"/>
          </a:xfrm>
          <a:prstGeom prst="rect">
            <a:avLst/>
          </a:prstGeom>
        </p:spPr>
        <p:txBody>
          <a:bodyPr vert="horz" lIns="91440" tIns="45720" rIns="91440" bIns="45720" rtlCol="0" anchor="ctr">
            <a:normAutofit fontScale="70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600" i="1" dirty="0">
                <a:solidFill>
                  <a:srgbClr val="212D59"/>
                </a:solidFill>
                <a:latin typeface="Montserrat Black"/>
              </a:rPr>
              <a:t>Lunch</a:t>
            </a:r>
            <a:endParaRPr lang="en-US" dirty="0"/>
          </a:p>
          <a:p>
            <a:pPr algn="ctr">
              <a:lnSpc>
                <a:spcPct val="130000"/>
              </a:lnSpc>
            </a:pPr>
            <a:r>
              <a:rPr lang="en-US" sz="2400" i="1" dirty="0">
                <a:solidFill>
                  <a:srgbClr val="212D59"/>
                </a:solidFill>
                <a:latin typeface="Montserrat"/>
              </a:rPr>
              <a:t>Perspectives from People with Diabetes</a:t>
            </a:r>
          </a:p>
          <a:p>
            <a:pPr algn="ctr">
              <a:lnSpc>
                <a:spcPct val="130000"/>
              </a:lnSpc>
            </a:pPr>
            <a:r>
              <a:rPr lang="en-US" sz="2400" i="1" dirty="0">
                <a:solidFill>
                  <a:srgbClr val="212D59"/>
                </a:solidFill>
                <a:latin typeface="Montserrat"/>
              </a:rPr>
              <a:t>Whitley Ballroom</a:t>
            </a:r>
          </a:p>
          <a:p>
            <a:pPr algn="ctr">
              <a:lnSpc>
                <a:spcPct val="150000"/>
              </a:lnSpc>
              <a:spcBef>
                <a:spcPts val="0"/>
              </a:spcBef>
            </a:pPr>
            <a:endParaRPr lang="en-US" sz="2400" i="1" dirty="0">
              <a:solidFill>
                <a:srgbClr val="212D59"/>
              </a:solidFill>
              <a:latin typeface="Montserrat"/>
            </a:endParaRPr>
          </a:p>
          <a:p>
            <a:pPr>
              <a:lnSpc>
                <a:spcPct val="150000"/>
              </a:lnSpc>
            </a:pPr>
            <a:endParaRPr lang="en-US">
              <a:solidFill>
                <a:schemeClr val="bg1"/>
              </a:solidFill>
              <a:latin typeface="Montserrat Black"/>
            </a:endParaRPr>
          </a:p>
        </p:txBody>
      </p:sp>
      <p:sp>
        <p:nvSpPr>
          <p:cNvPr id="6" name="TextBox 28">
            <a:extLst>
              <a:ext uri="{FF2B5EF4-FFF2-40B4-BE49-F238E27FC236}">
                <a16:creationId xmlns:a16="http://schemas.microsoft.com/office/drawing/2014/main" id="{EE77AB53-28CA-0915-FF7A-0A49E9E76AAE}"/>
              </a:ext>
            </a:extLst>
          </p:cNvPr>
          <p:cNvSpPr txBox="1"/>
          <p:nvPr/>
        </p:nvSpPr>
        <p:spPr>
          <a:xfrm>
            <a:off x="1185911" y="3513360"/>
            <a:ext cx="9764820" cy="590996"/>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sz="2400" dirty="0">
                <a:latin typeface="Montserrat"/>
                <a:ea typeface="+mn-lt"/>
                <a:cs typeface="+mn-lt"/>
              </a:rPr>
              <a:t>12:15 – 1:15pm</a:t>
            </a:r>
            <a:endParaRPr lang="en-US" dirty="0"/>
          </a:p>
        </p:txBody>
      </p:sp>
      <p:pic>
        <p:nvPicPr>
          <p:cNvPr id="8" name="Imagen 7">
            <a:extLst>
              <a:ext uri="{FF2B5EF4-FFF2-40B4-BE49-F238E27FC236}">
                <a16:creationId xmlns:a16="http://schemas.microsoft.com/office/drawing/2014/main" id="{65336A3E-DB85-EF9D-FD83-D25CAA76938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00147" y="5408028"/>
            <a:ext cx="1432871" cy="942236"/>
          </a:xfrm>
          <a:prstGeom prst="rect">
            <a:avLst/>
          </a:prstGeom>
        </p:spPr>
      </p:pic>
    </p:spTree>
    <p:extLst>
      <p:ext uri="{BB962C8B-B14F-4D97-AF65-F5344CB8AC3E}">
        <p14:creationId xmlns:p14="http://schemas.microsoft.com/office/powerpoint/2010/main" val="34475674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34E6381-65E0-2038-A71B-50AC66B07809}"/>
              </a:ext>
            </a:extLst>
          </p:cNvPr>
          <p:cNvSpPr>
            <a:spLocks noGrp="1"/>
          </p:cNvSpPr>
          <p:nvPr>
            <p:ph type="sldNum" sz="quarter" idx="4"/>
          </p:nvPr>
        </p:nvSpPr>
        <p:spPr/>
        <p:txBody>
          <a:bodyPr/>
          <a:lstStyle/>
          <a:p>
            <a:fld id="{B6761BED-127F-4714-AE70-548270172845}" type="slidenum">
              <a:rPr lang="en-US" smtClean="0">
                <a:solidFill>
                  <a:schemeClr val="bg1">
                    <a:lumMod val="65000"/>
                  </a:schemeClr>
                </a:solidFill>
              </a:rPr>
              <a:pPr/>
              <a:t>5</a:t>
            </a:fld>
            <a:endParaRPr lang="en-US" dirty="0">
              <a:solidFill>
                <a:schemeClr val="bg1">
                  <a:lumMod val="65000"/>
                </a:schemeClr>
              </a:solidFill>
            </a:endParaRPr>
          </a:p>
        </p:txBody>
      </p:sp>
      <p:sp>
        <p:nvSpPr>
          <p:cNvPr id="2" name="Title 1">
            <a:extLst>
              <a:ext uri="{FF2B5EF4-FFF2-40B4-BE49-F238E27FC236}">
                <a16:creationId xmlns:a16="http://schemas.microsoft.com/office/drawing/2014/main" id="{161449FB-2D95-F0B2-A8F2-02CF3765AF7B}"/>
              </a:ext>
            </a:extLst>
          </p:cNvPr>
          <p:cNvSpPr>
            <a:spLocks noGrp="1"/>
          </p:cNvSpPr>
          <p:nvPr>
            <p:ph type="title" idx="4294967295"/>
          </p:nvPr>
        </p:nvSpPr>
        <p:spPr>
          <a:xfrm>
            <a:off x="1935740" y="-30051"/>
            <a:ext cx="8229600" cy="792163"/>
          </a:xfrm>
        </p:spPr>
        <p:txBody>
          <a:bodyPr/>
          <a:lstStyle/>
          <a:p>
            <a:r>
              <a:rPr lang="en-US" sz="2400" dirty="0"/>
              <a:t>Fig. 1: EMR-based HCT tool and provider reminders</a:t>
            </a:r>
          </a:p>
        </p:txBody>
      </p:sp>
      <p:pic>
        <p:nvPicPr>
          <p:cNvPr id="3076" name="Picture 4">
            <a:extLst>
              <a:ext uri="{FF2B5EF4-FFF2-40B4-BE49-F238E27FC236}">
                <a16:creationId xmlns:a16="http://schemas.microsoft.com/office/drawing/2014/main" id="{F855558D-F134-490C-7CA2-5024AB2C48A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6091"/>
          <a:stretch>
            <a:fillRect/>
          </a:stretch>
        </p:blipFill>
        <p:spPr bwMode="auto">
          <a:xfrm>
            <a:off x="1766659" y="840716"/>
            <a:ext cx="4205419" cy="414292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2E7F8B2B-2141-A5D9-00FB-650935964AE4}"/>
              </a:ext>
            </a:extLst>
          </p:cNvPr>
          <p:cNvGrpSpPr/>
          <p:nvPr/>
        </p:nvGrpSpPr>
        <p:grpSpPr>
          <a:xfrm>
            <a:off x="2244157" y="4991079"/>
            <a:ext cx="7703686" cy="1515211"/>
            <a:chOff x="347889" y="5047430"/>
            <a:chExt cx="8173591" cy="1648055"/>
          </a:xfrm>
        </p:grpSpPr>
        <p:pic>
          <p:nvPicPr>
            <p:cNvPr id="6" name="Picture 5">
              <a:extLst>
                <a:ext uri="{FF2B5EF4-FFF2-40B4-BE49-F238E27FC236}">
                  <a16:creationId xmlns:a16="http://schemas.microsoft.com/office/drawing/2014/main" id="{B18DE102-E3FB-3D6D-A812-0877FBD85EB6}"/>
                </a:ext>
              </a:extLst>
            </p:cNvPr>
            <p:cNvPicPr>
              <a:picLocks noChangeAspect="1"/>
            </p:cNvPicPr>
            <p:nvPr/>
          </p:nvPicPr>
          <p:blipFill>
            <a:blip r:embed="rId3"/>
            <a:stretch>
              <a:fillRect/>
            </a:stretch>
          </p:blipFill>
          <p:spPr>
            <a:xfrm>
              <a:off x="347889" y="5058391"/>
              <a:ext cx="2162477" cy="1629002"/>
            </a:xfrm>
            <a:prstGeom prst="rect">
              <a:avLst/>
            </a:prstGeom>
          </p:spPr>
        </p:pic>
        <p:pic>
          <p:nvPicPr>
            <p:cNvPr id="8" name="Picture 7">
              <a:extLst>
                <a:ext uri="{FF2B5EF4-FFF2-40B4-BE49-F238E27FC236}">
                  <a16:creationId xmlns:a16="http://schemas.microsoft.com/office/drawing/2014/main" id="{30AD7F40-A7C7-A478-AB42-92903A0074C8}"/>
                </a:ext>
              </a:extLst>
            </p:cNvPr>
            <p:cNvPicPr>
              <a:picLocks noChangeAspect="1"/>
            </p:cNvPicPr>
            <p:nvPr/>
          </p:nvPicPr>
          <p:blipFill>
            <a:blip r:embed="rId4"/>
            <a:stretch>
              <a:fillRect/>
            </a:stretch>
          </p:blipFill>
          <p:spPr>
            <a:xfrm>
              <a:off x="2510366" y="5047430"/>
              <a:ext cx="6011114" cy="1648055"/>
            </a:xfrm>
            <a:prstGeom prst="rect">
              <a:avLst/>
            </a:prstGeom>
          </p:spPr>
        </p:pic>
      </p:grpSp>
      <p:pic>
        <p:nvPicPr>
          <p:cNvPr id="3092" name="Picture 20">
            <a:extLst>
              <a:ext uri="{FF2B5EF4-FFF2-40B4-BE49-F238E27FC236}">
                <a16:creationId xmlns:a16="http://schemas.microsoft.com/office/drawing/2014/main" id="{3F069727-2877-A014-1E8E-20F5F3F4B5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1032" t="38188" r="1"/>
          <a:stretch>
            <a:fillRect/>
          </a:stretch>
        </p:blipFill>
        <p:spPr bwMode="auto">
          <a:xfrm>
            <a:off x="5972078" y="1722912"/>
            <a:ext cx="4310247" cy="2378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352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9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494B9F-9193-2BA1-F9CC-EC0DF5CE01CE}"/>
              </a:ext>
            </a:extLst>
          </p:cNvPr>
          <p:cNvSpPr>
            <a:spLocks noGrp="1"/>
          </p:cNvSpPr>
          <p:nvPr>
            <p:ph sz="half" idx="1"/>
          </p:nvPr>
        </p:nvSpPr>
        <p:spPr>
          <a:xfrm>
            <a:off x="1981200" y="1143000"/>
            <a:ext cx="4038600" cy="5105400"/>
          </a:xfrm>
        </p:spPr>
        <p:txBody>
          <a:bodyPr>
            <a:normAutofit/>
          </a:bodyPr>
          <a:lstStyle/>
          <a:p>
            <a:pPr>
              <a:spcAft>
                <a:spcPts val="600"/>
              </a:spcAft>
            </a:pPr>
            <a:r>
              <a:rPr lang="en-US" b="1" dirty="0"/>
              <a:t>Baseline</a:t>
            </a:r>
            <a:r>
              <a:rPr lang="en-US" dirty="0"/>
              <a:t>: HCT planning documented in only 19% of provider notes</a:t>
            </a:r>
          </a:p>
          <a:p>
            <a:pPr>
              <a:spcAft>
                <a:spcPts val="600"/>
              </a:spcAft>
            </a:pPr>
            <a:r>
              <a:rPr lang="en-US" dirty="0"/>
              <a:t>30 providers participated (22 physicians and 8 APPs), and 2196 encounters were reviewed for 1102 unique patients</a:t>
            </a:r>
          </a:p>
          <a:p>
            <a:pPr>
              <a:spcAft>
                <a:spcPts val="600"/>
              </a:spcAft>
            </a:pPr>
            <a:r>
              <a:rPr lang="en-US" dirty="0"/>
              <a:t>Providers identified time constraints as the main barrier to use</a:t>
            </a:r>
          </a:p>
        </p:txBody>
      </p:sp>
      <p:sp>
        <p:nvSpPr>
          <p:cNvPr id="4" name="Slide Number Placeholder 3">
            <a:extLst>
              <a:ext uri="{FF2B5EF4-FFF2-40B4-BE49-F238E27FC236}">
                <a16:creationId xmlns:a16="http://schemas.microsoft.com/office/drawing/2014/main" id="{E757D992-C0D1-5BFB-1726-6B3371ECFC31}"/>
              </a:ext>
            </a:extLst>
          </p:cNvPr>
          <p:cNvSpPr>
            <a:spLocks noGrp="1"/>
          </p:cNvSpPr>
          <p:nvPr>
            <p:ph type="sldNum" sz="quarter" idx="4"/>
          </p:nvPr>
        </p:nvSpPr>
        <p:spPr>
          <a:xfrm>
            <a:off x="9448800" y="6383180"/>
            <a:ext cx="762000" cy="246221"/>
          </a:xfrm>
        </p:spPr>
        <p:txBody>
          <a:bodyPr>
            <a:normAutofit/>
          </a:bodyPr>
          <a:lstStyle/>
          <a:p>
            <a:pPr>
              <a:spcAft>
                <a:spcPts val="600"/>
              </a:spcAft>
            </a:pPr>
            <a:fld id="{B6761BED-127F-4714-AE70-548270172845}" type="slidenum">
              <a:rPr lang="en-US" smtClean="0">
                <a:solidFill>
                  <a:schemeClr val="bg1">
                    <a:lumMod val="65000"/>
                  </a:schemeClr>
                </a:solidFill>
              </a:rPr>
              <a:pPr>
                <a:spcAft>
                  <a:spcPts val="600"/>
                </a:spcAft>
              </a:pPr>
              <a:t>6</a:t>
            </a:fld>
            <a:endParaRPr lang="en-US">
              <a:solidFill>
                <a:schemeClr val="bg1">
                  <a:lumMod val="65000"/>
                </a:schemeClr>
              </a:solidFill>
            </a:endParaRPr>
          </a:p>
        </p:txBody>
      </p:sp>
      <p:sp>
        <p:nvSpPr>
          <p:cNvPr id="2" name="Title 1">
            <a:extLst>
              <a:ext uri="{FF2B5EF4-FFF2-40B4-BE49-F238E27FC236}">
                <a16:creationId xmlns:a16="http://schemas.microsoft.com/office/drawing/2014/main" id="{E9E8E102-539C-AE92-A822-5FBF0D41E085}"/>
              </a:ext>
            </a:extLst>
          </p:cNvPr>
          <p:cNvSpPr>
            <a:spLocks noGrp="1"/>
          </p:cNvSpPr>
          <p:nvPr>
            <p:ph type="title"/>
          </p:nvPr>
        </p:nvSpPr>
        <p:spPr>
          <a:xfrm>
            <a:off x="1981200" y="152400"/>
            <a:ext cx="8229600" cy="792162"/>
          </a:xfrm>
        </p:spPr>
        <p:txBody>
          <a:bodyPr anchor="b">
            <a:normAutofit/>
          </a:bodyPr>
          <a:lstStyle/>
          <a:p>
            <a:r>
              <a:rPr lang="en-US" dirty="0"/>
              <a:t>Results</a:t>
            </a:r>
          </a:p>
        </p:txBody>
      </p:sp>
      <p:graphicFrame>
        <p:nvGraphicFramePr>
          <p:cNvPr id="5" name="Content Placeholder 4">
            <a:extLst>
              <a:ext uri="{FF2B5EF4-FFF2-40B4-BE49-F238E27FC236}">
                <a16:creationId xmlns:a16="http://schemas.microsoft.com/office/drawing/2014/main" id="{3B3774AF-44E9-DCCB-007A-BA8FDB3AB84A}"/>
              </a:ext>
            </a:extLst>
          </p:cNvPr>
          <p:cNvGraphicFramePr>
            <a:graphicFrameLocks noGrp="1"/>
          </p:cNvGraphicFramePr>
          <p:nvPr>
            <p:ph sz="half" idx="2"/>
          </p:nvPr>
        </p:nvGraphicFramePr>
        <p:xfrm>
          <a:off x="6172200" y="1143000"/>
          <a:ext cx="4038600" cy="5105400"/>
        </p:xfrm>
        <a:graphic>
          <a:graphicData uri="http://schemas.openxmlformats.org/drawingml/2006/chart">
            <c:chart xmlns:c="http://schemas.openxmlformats.org/drawingml/2006/chart" xmlns:r="http://schemas.openxmlformats.org/officeDocument/2006/relationships" r:id="rId2"/>
          </a:graphicData>
        </a:graphic>
      </p:graphicFrame>
      <p:sp>
        <p:nvSpPr>
          <p:cNvPr id="6" name="Content Placeholder 2">
            <a:extLst>
              <a:ext uri="{FF2B5EF4-FFF2-40B4-BE49-F238E27FC236}">
                <a16:creationId xmlns:a16="http://schemas.microsoft.com/office/drawing/2014/main" id="{D257AF56-226A-D5AA-FBA5-C84665F42058}"/>
              </a:ext>
            </a:extLst>
          </p:cNvPr>
          <p:cNvSpPr txBox="1">
            <a:spLocks/>
          </p:cNvSpPr>
          <p:nvPr/>
        </p:nvSpPr>
        <p:spPr>
          <a:xfrm>
            <a:off x="7604991" y="5789317"/>
            <a:ext cx="762000" cy="35098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1pPr>
            <a:lvl2pPr marL="742950" indent="-28575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2pPr>
            <a:lvl3pPr marL="1143000" indent="-2286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3pPr>
            <a:lvl4pPr marL="1600200" indent="-2286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4pPr>
            <a:lvl5pPr marL="2057400" indent="-228600" algn="l" defTabSz="914400" rtl="0" eaLnBrk="1" latinLnBrk="0" hangingPunct="1">
              <a:spcBef>
                <a:spcPct val="20000"/>
              </a:spcBef>
              <a:buClr>
                <a:srgbClr val="00A94F"/>
              </a:buClr>
              <a:buFont typeface="Arial" panose="020B0604020202020204" pitchFamily="34" charset="0"/>
              <a:buChar char="»"/>
              <a:defRPr sz="2400" kern="1200">
                <a:solidFill>
                  <a:srgbClr val="00000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US" sz="1400" dirty="0"/>
              <a:t>n=7</a:t>
            </a:r>
          </a:p>
        </p:txBody>
      </p:sp>
    </p:spTree>
    <p:extLst>
      <p:ext uri="{BB962C8B-B14F-4D97-AF65-F5344CB8AC3E}">
        <p14:creationId xmlns:p14="http://schemas.microsoft.com/office/powerpoint/2010/main" val="903460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Graphic spid="5" grpId="0">
        <p:bldAsOne/>
      </p:bldGraphic>
      <p:bldP spid="6"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9C110EE8-3BB2-43DB-91D6-9AD356E51B44}"/>
              </a:ext>
              <a:ext uri="{147F2762-F138-4A5C-976F-8EAC2B608ADB}">
                <a16:predDERef xmlns:a16="http://schemas.microsoft.com/office/drawing/2014/main" pred="{145E083F-0984-4918-B0FF-F8FDF3D8CA6A}"/>
              </a:ext>
            </a:extLst>
          </p:cNvPr>
          <p:cNvGraphicFramePr>
            <a:graphicFrameLocks/>
          </p:cNvGraphicFramePr>
          <p:nvPr/>
        </p:nvGraphicFramePr>
        <p:xfrm>
          <a:off x="1981200" y="1227292"/>
          <a:ext cx="8229600" cy="4433761"/>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4">
            <a:extLst>
              <a:ext uri="{FF2B5EF4-FFF2-40B4-BE49-F238E27FC236}">
                <a16:creationId xmlns:a16="http://schemas.microsoft.com/office/drawing/2014/main" id="{8B08312E-461D-2E53-5211-A1EDD27ADD22}"/>
              </a:ext>
            </a:extLst>
          </p:cNvPr>
          <p:cNvSpPr>
            <a:spLocks noGrp="1"/>
          </p:cNvSpPr>
          <p:nvPr>
            <p:ph type="title"/>
          </p:nvPr>
        </p:nvSpPr>
        <p:spPr/>
        <p:txBody>
          <a:bodyPr/>
          <a:lstStyle/>
          <a:p>
            <a:r>
              <a:rPr lang="en-US" sz="2400" dirty="0"/>
              <a:t>Fig. 2: Run chart of proportion of well-visits with any HCT tool use for patients ≥17y at DM Clinic in 2024</a:t>
            </a:r>
          </a:p>
        </p:txBody>
      </p:sp>
      <p:sp>
        <p:nvSpPr>
          <p:cNvPr id="8" name="Content Placeholder 7">
            <a:extLst>
              <a:ext uri="{FF2B5EF4-FFF2-40B4-BE49-F238E27FC236}">
                <a16:creationId xmlns:a16="http://schemas.microsoft.com/office/drawing/2014/main" id="{EF432274-5323-349B-AA7E-053A9DC722DA}"/>
              </a:ext>
            </a:extLst>
          </p:cNvPr>
          <p:cNvSpPr>
            <a:spLocks noGrp="1"/>
          </p:cNvSpPr>
          <p:nvPr>
            <p:ph idx="1"/>
          </p:nvPr>
        </p:nvSpPr>
        <p:spPr>
          <a:xfrm>
            <a:off x="2107977" y="5842450"/>
            <a:ext cx="3866643" cy="863150"/>
          </a:xfrm>
        </p:spPr>
        <p:txBody>
          <a:bodyPr/>
          <a:lstStyle/>
          <a:p>
            <a:pPr marL="282575" indent="-282575">
              <a:buFont typeface="+mj-lt"/>
              <a:buAutoNum type="arabicPeriod"/>
              <a:tabLst>
                <a:tab pos="282575" algn="l"/>
              </a:tabLst>
            </a:pPr>
            <a:r>
              <a:rPr lang="en-US" sz="1500" dirty="0"/>
              <a:t>HCT tool training &amp; release</a:t>
            </a:r>
          </a:p>
          <a:p>
            <a:pPr marL="282575" indent="-282575">
              <a:buFont typeface="+mj-lt"/>
              <a:buAutoNum type="arabicPeriod"/>
              <a:tabLst>
                <a:tab pos="282575" algn="l"/>
              </a:tabLst>
            </a:pPr>
            <a:r>
              <a:rPr lang="en-US" sz="1500" dirty="0"/>
              <a:t>Provider reminders &amp; satisfaction survey</a:t>
            </a:r>
          </a:p>
          <a:p>
            <a:pPr marL="282575" indent="-282575">
              <a:buFont typeface="+mj-lt"/>
              <a:buAutoNum type="arabicPeriod"/>
              <a:tabLst>
                <a:tab pos="282575" algn="l"/>
              </a:tabLst>
            </a:pPr>
            <a:r>
              <a:rPr lang="en-US" sz="1500" dirty="0"/>
              <a:t>Tool revision &amp; training</a:t>
            </a:r>
          </a:p>
        </p:txBody>
      </p:sp>
      <p:sp>
        <p:nvSpPr>
          <p:cNvPr id="2" name="Slide Number Placeholder 1">
            <a:extLst>
              <a:ext uri="{FF2B5EF4-FFF2-40B4-BE49-F238E27FC236}">
                <a16:creationId xmlns:a16="http://schemas.microsoft.com/office/drawing/2014/main" id="{14BAC08D-65FF-067D-60B9-62EF823BF412}"/>
              </a:ext>
            </a:extLst>
          </p:cNvPr>
          <p:cNvSpPr>
            <a:spLocks noGrp="1"/>
          </p:cNvSpPr>
          <p:nvPr>
            <p:ph type="sldNum" sz="quarter" idx="4"/>
          </p:nvPr>
        </p:nvSpPr>
        <p:spPr/>
        <p:txBody>
          <a:bodyPr/>
          <a:lstStyle/>
          <a:p>
            <a:fld id="{B6761BED-127F-4714-AE70-548270172845}" type="slidenum">
              <a:rPr lang="en-US" smtClean="0">
                <a:solidFill>
                  <a:schemeClr val="bg1">
                    <a:lumMod val="65000"/>
                  </a:schemeClr>
                </a:solidFill>
              </a:rPr>
              <a:pPr/>
              <a:t>7</a:t>
            </a:fld>
            <a:endParaRPr lang="en-US" dirty="0">
              <a:solidFill>
                <a:schemeClr val="bg1">
                  <a:lumMod val="65000"/>
                </a:schemeClr>
              </a:solidFill>
            </a:endParaRPr>
          </a:p>
        </p:txBody>
      </p:sp>
      <p:cxnSp>
        <p:nvCxnSpPr>
          <p:cNvPr id="7" name="Straight Connector 6">
            <a:extLst>
              <a:ext uri="{FF2B5EF4-FFF2-40B4-BE49-F238E27FC236}">
                <a16:creationId xmlns:a16="http://schemas.microsoft.com/office/drawing/2014/main" id="{AB7DE1FB-A720-46B5-BCF0-0933E8430E90}"/>
              </a:ext>
            </a:extLst>
          </p:cNvPr>
          <p:cNvCxnSpPr/>
          <p:nvPr/>
        </p:nvCxnSpPr>
        <p:spPr>
          <a:xfrm>
            <a:off x="2923924" y="3123526"/>
            <a:ext cx="7160103" cy="0"/>
          </a:xfrm>
          <a:prstGeom prst="line">
            <a:avLst/>
          </a:prstGeom>
        </p:spPr>
        <p:style>
          <a:lnRef idx="2">
            <a:schemeClr val="accent5"/>
          </a:lnRef>
          <a:fillRef idx="0">
            <a:schemeClr val="accent5"/>
          </a:fillRef>
          <a:effectRef idx="1">
            <a:schemeClr val="accent5"/>
          </a:effectRef>
          <a:fontRef idx="minor">
            <a:schemeClr val="tx1"/>
          </a:fontRef>
        </p:style>
      </p:cxnSp>
      <p:sp>
        <p:nvSpPr>
          <p:cNvPr id="9" name="Content Placeholder 7">
            <a:extLst>
              <a:ext uri="{FF2B5EF4-FFF2-40B4-BE49-F238E27FC236}">
                <a16:creationId xmlns:a16="http://schemas.microsoft.com/office/drawing/2014/main" id="{0E03FB12-52FF-EED0-B6F1-3B1FE7310E1A}"/>
              </a:ext>
            </a:extLst>
          </p:cNvPr>
          <p:cNvSpPr txBox="1">
            <a:spLocks/>
          </p:cNvSpPr>
          <p:nvPr/>
        </p:nvSpPr>
        <p:spPr>
          <a:xfrm>
            <a:off x="6217384" y="5745345"/>
            <a:ext cx="3866642" cy="968348"/>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00A94F"/>
              </a:buClr>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Clr>
                <a:srgbClr val="00A94F"/>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Clr>
                <a:srgbClr val="00A94F"/>
              </a:buClr>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00A94F"/>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spcBef>
                <a:spcPct val="20000"/>
              </a:spcBef>
              <a:buClr>
                <a:srgbClr val="00A94F"/>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2575" indent="-282575">
              <a:buFont typeface="+mj-lt"/>
              <a:buAutoNum type="arabicPeriod" startAt="4"/>
            </a:pPr>
            <a:r>
              <a:rPr lang="en-US" sz="1500" dirty="0"/>
              <a:t>Provider reminders &amp; feedback on barriers to use</a:t>
            </a:r>
          </a:p>
          <a:p>
            <a:pPr marL="282575" indent="-282575">
              <a:buFont typeface="+mj-lt"/>
              <a:buAutoNum type="arabicPeriod" startAt="4"/>
            </a:pPr>
            <a:r>
              <a:rPr lang="en-US" sz="1500" dirty="0"/>
              <a:t>Tool revision, EMR-integrated reminders &amp; training</a:t>
            </a:r>
          </a:p>
        </p:txBody>
      </p:sp>
      <p:sp>
        <p:nvSpPr>
          <p:cNvPr id="10" name="Title 4">
            <a:extLst>
              <a:ext uri="{FF2B5EF4-FFF2-40B4-BE49-F238E27FC236}">
                <a16:creationId xmlns:a16="http://schemas.microsoft.com/office/drawing/2014/main" id="{4B3ED887-A1DE-289A-0162-428FC3F527F1}"/>
              </a:ext>
            </a:extLst>
          </p:cNvPr>
          <p:cNvSpPr txBox="1">
            <a:spLocks/>
          </p:cNvSpPr>
          <p:nvPr/>
        </p:nvSpPr>
        <p:spPr>
          <a:xfrm>
            <a:off x="2886158" y="3123526"/>
            <a:ext cx="880684" cy="473874"/>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2800" kern="1200">
                <a:solidFill>
                  <a:srgbClr val="00A94F"/>
                </a:solidFill>
                <a:latin typeface="Arial Rounded MT Bold" panose="020F0704030504030204" pitchFamily="34" charset="0"/>
                <a:ea typeface="+mj-ea"/>
                <a:cs typeface="+mj-cs"/>
              </a:defRPr>
            </a:lvl1pPr>
          </a:lstStyle>
          <a:p>
            <a:r>
              <a:rPr lang="en-US" sz="1200" b="1" dirty="0">
                <a:latin typeface="Arial" panose="020B0604020202020204" pitchFamily="34" charset="0"/>
                <a:cs typeface="Arial" panose="020B0604020202020204" pitchFamily="34" charset="0"/>
              </a:rPr>
              <a:t>Cycle 1</a:t>
            </a:r>
            <a:endParaRPr lang="en-US" sz="1050" b="1" dirty="0">
              <a:latin typeface="Arial" panose="020B0604020202020204" pitchFamily="34" charset="0"/>
              <a:cs typeface="Arial" panose="020B0604020202020204" pitchFamily="34" charset="0"/>
            </a:endParaRPr>
          </a:p>
          <a:p>
            <a:r>
              <a:rPr lang="en-US" sz="1050" b="1" dirty="0">
                <a:latin typeface="Arial" panose="020B0604020202020204" pitchFamily="34" charset="0"/>
                <a:cs typeface="Arial" panose="020B0604020202020204" pitchFamily="34" charset="0"/>
              </a:rPr>
              <a:t>Jan. 11th</a:t>
            </a:r>
          </a:p>
        </p:txBody>
      </p:sp>
      <p:sp>
        <p:nvSpPr>
          <p:cNvPr id="11" name="Title 4">
            <a:extLst>
              <a:ext uri="{FF2B5EF4-FFF2-40B4-BE49-F238E27FC236}">
                <a16:creationId xmlns:a16="http://schemas.microsoft.com/office/drawing/2014/main" id="{A3199C2C-7665-E398-35F6-0BA909A68BDB}"/>
              </a:ext>
            </a:extLst>
          </p:cNvPr>
          <p:cNvSpPr txBox="1">
            <a:spLocks/>
          </p:cNvSpPr>
          <p:nvPr/>
        </p:nvSpPr>
        <p:spPr>
          <a:xfrm>
            <a:off x="2107974" y="5393772"/>
            <a:ext cx="1251568" cy="473874"/>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2800" kern="1200">
                <a:solidFill>
                  <a:srgbClr val="00A94F"/>
                </a:solidFill>
                <a:latin typeface="Arial Rounded MT Bold" panose="020F0704030504030204" pitchFamily="34" charset="0"/>
                <a:ea typeface="+mj-ea"/>
                <a:cs typeface="+mj-cs"/>
              </a:defRPr>
            </a:lvl1pPr>
          </a:lstStyle>
          <a:p>
            <a:r>
              <a:rPr lang="en-US" sz="1600" dirty="0"/>
              <a:t>Cycles</a:t>
            </a:r>
          </a:p>
        </p:txBody>
      </p:sp>
      <p:sp>
        <p:nvSpPr>
          <p:cNvPr id="14" name="Title 4">
            <a:extLst>
              <a:ext uri="{FF2B5EF4-FFF2-40B4-BE49-F238E27FC236}">
                <a16:creationId xmlns:a16="http://schemas.microsoft.com/office/drawing/2014/main" id="{98D038D3-0111-8882-4D84-56CE49AECB12}"/>
              </a:ext>
            </a:extLst>
          </p:cNvPr>
          <p:cNvSpPr txBox="1">
            <a:spLocks/>
          </p:cNvSpPr>
          <p:nvPr/>
        </p:nvSpPr>
        <p:spPr>
          <a:xfrm>
            <a:off x="3774258" y="3132901"/>
            <a:ext cx="802462" cy="473874"/>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2800" kern="1200">
                <a:solidFill>
                  <a:srgbClr val="00A94F"/>
                </a:solidFill>
                <a:latin typeface="Arial Rounded MT Bold" panose="020F0704030504030204" pitchFamily="34" charset="0"/>
                <a:ea typeface="+mj-ea"/>
                <a:cs typeface="+mj-cs"/>
              </a:defRPr>
            </a:lvl1pPr>
          </a:lstStyle>
          <a:p>
            <a:r>
              <a:rPr lang="en-US" sz="1200" b="1" dirty="0">
                <a:latin typeface="Arial" panose="020B0604020202020204" pitchFamily="34" charset="0"/>
                <a:cs typeface="Arial" panose="020B0604020202020204" pitchFamily="34" charset="0"/>
              </a:rPr>
              <a:t>Cycle 2</a:t>
            </a:r>
            <a:endParaRPr lang="en-US" sz="1050" b="1" dirty="0">
              <a:latin typeface="Arial" panose="020B0604020202020204" pitchFamily="34" charset="0"/>
              <a:cs typeface="Arial" panose="020B0604020202020204" pitchFamily="34" charset="0"/>
            </a:endParaRPr>
          </a:p>
          <a:p>
            <a:r>
              <a:rPr lang="en-US" sz="1050" b="1" dirty="0">
                <a:latin typeface="Arial" panose="020B0604020202020204" pitchFamily="34" charset="0"/>
                <a:cs typeface="Arial" panose="020B0604020202020204" pitchFamily="34" charset="0"/>
              </a:rPr>
              <a:t>Feb. 19th</a:t>
            </a:r>
          </a:p>
        </p:txBody>
      </p:sp>
      <p:sp>
        <p:nvSpPr>
          <p:cNvPr id="15" name="Title 4">
            <a:extLst>
              <a:ext uri="{FF2B5EF4-FFF2-40B4-BE49-F238E27FC236}">
                <a16:creationId xmlns:a16="http://schemas.microsoft.com/office/drawing/2014/main" id="{F64786AF-558A-C071-659F-A4A0B3ED417D}"/>
              </a:ext>
            </a:extLst>
          </p:cNvPr>
          <p:cNvSpPr txBox="1">
            <a:spLocks/>
          </p:cNvSpPr>
          <p:nvPr/>
        </p:nvSpPr>
        <p:spPr>
          <a:xfrm>
            <a:off x="5386598" y="3128446"/>
            <a:ext cx="743120" cy="473874"/>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2800" kern="1200">
                <a:solidFill>
                  <a:srgbClr val="00A94F"/>
                </a:solidFill>
                <a:latin typeface="Arial Rounded MT Bold" panose="020F0704030504030204" pitchFamily="34" charset="0"/>
                <a:ea typeface="+mj-ea"/>
                <a:cs typeface="+mj-cs"/>
              </a:defRPr>
            </a:lvl1pPr>
          </a:lstStyle>
          <a:p>
            <a:r>
              <a:rPr lang="en-US" sz="1200" b="1" dirty="0">
                <a:latin typeface="Arial" panose="020B0604020202020204" pitchFamily="34" charset="0"/>
                <a:cs typeface="Arial" panose="020B0604020202020204" pitchFamily="34" charset="0"/>
              </a:rPr>
              <a:t>Cycle 3</a:t>
            </a:r>
            <a:endParaRPr lang="en-US" sz="1050" b="1" dirty="0">
              <a:latin typeface="Arial" panose="020B0604020202020204" pitchFamily="34" charset="0"/>
              <a:cs typeface="Arial" panose="020B0604020202020204" pitchFamily="34" charset="0"/>
            </a:endParaRPr>
          </a:p>
          <a:p>
            <a:r>
              <a:rPr lang="en-US" sz="1050" b="1" dirty="0">
                <a:latin typeface="Arial" panose="020B0604020202020204" pitchFamily="34" charset="0"/>
                <a:cs typeface="Arial" panose="020B0604020202020204" pitchFamily="34" charset="0"/>
              </a:rPr>
              <a:t>May 2nd</a:t>
            </a:r>
          </a:p>
        </p:txBody>
      </p:sp>
      <p:sp>
        <p:nvSpPr>
          <p:cNvPr id="16" name="Title 4">
            <a:extLst>
              <a:ext uri="{FF2B5EF4-FFF2-40B4-BE49-F238E27FC236}">
                <a16:creationId xmlns:a16="http://schemas.microsoft.com/office/drawing/2014/main" id="{16E4E393-38EB-49DB-203E-4F8F1BFC5AE6}"/>
              </a:ext>
            </a:extLst>
          </p:cNvPr>
          <p:cNvSpPr txBox="1">
            <a:spLocks/>
          </p:cNvSpPr>
          <p:nvPr/>
        </p:nvSpPr>
        <p:spPr>
          <a:xfrm>
            <a:off x="7011746" y="3123526"/>
            <a:ext cx="802462" cy="473874"/>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2800" kern="1200">
                <a:solidFill>
                  <a:srgbClr val="00A94F"/>
                </a:solidFill>
                <a:latin typeface="Arial Rounded MT Bold" panose="020F0704030504030204" pitchFamily="34" charset="0"/>
                <a:ea typeface="+mj-ea"/>
                <a:cs typeface="+mj-cs"/>
              </a:defRPr>
            </a:lvl1pPr>
          </a:lstStyle>
          <a:p>
            <a:r>
              <a:rPr lang="en-US" sz="1200" b="1" dirty="0">
                <a:latin typeface="Arial" panose="020B0604020202020204" pitchFamily="34" charset="0"/>
                <a:cs typeface="Arial" panose="020B0604020202020204" pitchFamily="34" charset="0"/>
              </a:rPr>
              <a:t>Cycle 4</a:t>
            </a:r>
            <a:endParaRPr lang="en-US" sz="1050" b="1" dirty="0">
              <a:latin typeface="Arial" panose="020B0604020202020204" pitchFamily="34" charset="0"/>
              <a:cs typeface="Arial" panose="020B0604020202020204" pitchFamily="34" charset="0"/>
            </a:endParaRPr>
          </a:p>
          <a:p>
            <a:r>
              <a:rPr lang="en-US" sz="1050" b="1" dirty="0">
                <a:latin typeface="Arial" panose="020B0604020202020204" pitchFamily="34" charset="0"/>
                <a:cs typeface="Arial" panose="020B0604020202020204" pitchFamily="34" charset="0"/>
              </a:rPr>
              <a:t>Aug. 18th</a:t>
            </a:r>
          </a:p>
        </p:txBody>
      </p:sp>
      <p:sp>
        <p:nvSpPr>
          <p:cNvPr id="17" name="Title 4">
            <a:extLst>
              <a:ext uri="{FF2B5EF4-FFF2-40B4-BE49-F238E27FC236}">
                <a16:creationId xmlns:a16="http://schemas.microsoft.com/office/drawing/2014/main" id="{E988B294-9AB4-3E5A-0C1B-4FA74BBD2D5E}"/>
              </a:ext>
            </a:extLst>
          </p:cNvPr>
          <p:cNvSpPr txBox="1">
            <a:spLocks/>
          </p:cNvSpPr>
          <p:nvPr/>
        </p:nvSpPr>
        <p:spPr>
          <a:xfrm>
            <a:off x="8834978" y="3128446"/>
            <a:ext cx="802462" cy="473874"/>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2800" kern="1200">
                <a:solidFill>
                  <a:srgbClr val="00A94F"/>
                </a:solidFill>
                <a:latin typeface="Arial Rounded MT Bold" panose="020F0704030504030204" pitchFamily="34" charset="0"/>
                <a:ea typeface="+mj-ea"/>
                <a:cs typeface="+mj-cs"/>
              </a:defRPr>
            </a:lvl1pPr>
          </a:lstStyle>
          <a:p>
            <a:r>
              <a:rPr lang="en-US" sz="1200" b="1" dirty="0">
                <a:latin typeface="Arial" panose="020B0604020202020204" pitchFamily="34" charset="0"/>
                <a:cs typeface="Arial" panose="020B0604020202020204" pitchFamily="34" charset="0"/>
              </a:rPr>
              <a:t>Cycle 5</a:t>
            </a:r>
            <a:endParaRPr lang="en-US" sz="1050" b="1" dirty="0">
              <a:latin typeface="Arial" panose="020B0604020202020204" pitchFamily="34" charset="0"/>
              <a:cs typeface="Arial" panose="020B0604020202020204" pitchFamily="34" charset="0"/>
            </a:endParaRPr>
          </a:p>
          <a:p>
            <a:r>
              <a:rPr lang="en-US" sz="1050" b="1" dirty="0">
                <a:latin typeface="Arial" panose="020B0604020202020204" pitchFamily="34" charset="0"/>
                <a:cs typeface="Arial" panose="020B0604020202020204" pitchFamily="34" charset="0"/>
              </a:rPr>
              <a:t>Nov. 7th</a:t>
            </a:r>
          </a:p>
        </p:txBody>
      </p:sp>
      <p:cxnSp>
        <p:nvCxnSpPr>
          <p:cNvPr id="19" name="Straight Arrow Connector 18">
            <a:extLst>
              <a:ext uri="{FF2B5EF4-FFF2-40B4-BE49-F238E27FC236}">
                <a16:creationId xmlns:a16="http://schemas.microsoft.com/office/drawing/2014/main" id="{587AD89D-63FE-46EE-F77C-A71375BD0A46}"/>
              </a:ext>
            </a:extLst>
          </p:cNvPr>
          <p:cNvCxnSpPr>
            <a:cxnSpLocks/>
          </p:cNvCxnSpPr>
          <p:nvPr/>
        </p:nvCxnSpPr>
        <p:spPr>
          <a:xfrm>
            <a:off x="3204856" y="3597401"/>
            <a:ext cx="0" cy="260139"/>
          </a:xfrm>
          <a:prstGeom prst="straightConnector1">
            <a:avLst/>
          </a:prstGeom>
          <a:ln>
            <a:solidFill>
              <a:srgbClr val="00A94F"/>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F503FDE2-5C9A-90B5-E4DA-B67F32AB4A25}"/>
              </a:ext>
            </a:extLst>
          </p:cNvPr>
          <p:cNvCxnSpPr>
            <a:cxnSpLocks/>
          </p:cNvCxnSpPr>
          <p:nvPr/>
        </p:nvCxnSpPr>
        <p:spPr>
          <a:xfrm flipH="1">
            <a:off x="3823488" y="3606776"/>
            <a:ext cx="280524" cy="594093"/>
          </a:xfrm>
          <a:prstGeom prst="straightConnector1">
            <a:avLst/>
          </a:prstGeom>
          <a:ln>
            <a:solidFill>
              <a:srgbClr val="00A94F"/>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96DC72FE-911C-D8F5-B8C1-773C8CF72423}"/>
              </a:ext>
            </a:extLst>
          </p:cNvPr>
          <p:cNvCxnSpPr>
            <a:cxnSpLocks/>
          </p:cNvCxnSpPr>
          <p:nvPr/>
        </p:nvCxnSpPr>
        <p:spPr>
          <a:xfrm flipH="1">
            <a:off x="5609130" y="3606775"/>
            <a:ext cx="94362" cy="743552"/>
          </a:xfrm>
          <a:prstGeom prst="straightConnector1">
            <a:avLst/>
          </a:prstGeom>
          <a:ln>
            <a:solidFill>
              <a:srgbClr val="00A94F"/>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842DDB57-54E5-7460-59D4-323943AD2FC6}"/>
              </a:ext>
            </a:extLst>
          </p:cNvPr>
          <p:cNvCxnSpPr>
            <a:cxnSpLocks/>
          </p:cNvCxnSpPr>
          <p:nvPr/>
        </p:nvCxnSpPr>
        <p:spPr>
          <a:xfrm>
            <a:off x="7376033" y="3606776"/>
            <a:ext cx="0" cy="501529"/>
          </a:xfrm>
          <a:prstGeom prst="straightConnector1">
            <a:avLst/>
          </a:prstGeom>
          <a:ln>
            <a:solidFill>
              <a:srgbClr val="00A94F"/>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BE4E0EA9-3D65-7824-DA22-06B90DF622FE}"/>
              </a:ext>
            </a:extLst>
          </p:cNvPr>
          <p:cNvCxnSpPr>
            <a:cxnSpLocks/>
          </p:cNvCxnSpPr>
          <p:nvPr/>
        </p:nvCxnSpPr>
        <p:spPr>
          <a:xfrm>
            <a:off x="9172018" y="3595039"/>
            <a:ext cx="0" cy="262501"/>
          </a:xfrm>
          <a:prstGeom prst="straightConnector1">
            <a:avLst/>
          </a:prstGeom>
          <a:ln>
            <a:solidFill>
              <a:srgbClr val="00A94F"/>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4633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2" end="2"/>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xEl>
                                              <p:pRg st="0" end="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
                                            <p:txEl>
                                              <p:pRg st="1" end="1"/>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5" grpId="0"/>
      <p:bldP spid="16" grpId="0"/>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Fig. 3: Comparisons of HCT tool use by PDSA cycle</a:t>
            </a:r>
          </a:p>
        </p:txBody>
      </p:sp>
      <p:sp>
        <p:nvSpPr>
          <p:cNvPr id="4" name="Slide Number Placeholder 3"/>
          <p:cNvSpPr>
            <a:spLocks noGrp="1"/>
          </p:cNvSpPr>
          <p:nvPr>
            <p:ph type="sldNum" sz="quarter" idx="4"/>
          </p:nvPr>
        </p:nvSpPr>
        <p:spPr/>
        <p:txBody>
          <a:bodyPr/>
          <a:lstStyle/>
          <a:p>
            <a:fld id="{B6761BED-127F-4714-AE70-548270172845}" type="slidenum">
              <a:rPr lang="en-US" smtClean="0">
                <a:solidFill>
                  <a:schemeClr val="bg1">
                    <a:lumMod val="65000"/>
                  </a:schemeClr>
                </a:solidFill>
              </a:rPr>
              <a:pPr/>
              <a:t>8</a:t>
            </a:fld>
            <a:endParaRPr lang="en-US" dirty="0">
              <a:solidFill>
                <a:schemeClr val="bg1">
                  <a:lumMod val="65000"/>
                </a:schemeClr>
              </a:solidFill>
            </a:endParaRPr>
          </a:p>
        </p:txBody>
      </p:sp>
      <p:sp>
        <p:nvSpPr>
          <p:cNvPr id="6" name="Rectangle 5"/>
          <p:cNvSpPr/>
          <p:nvPr/>
        </p:nvSpPr>
        <p:spPr>
          <a:xfrm>
            <a:off x="5791200" y="6248400"/>
            <a:ext cx="3810000" cy="60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2050" name="Picture 2" descr="Output image">
            <a:extLst>
              <a:ext uri="{FF2B5EF4-FFF2-40B4-BE49-F238E27FC236}">
                <a16:creationId xmlns:a16="http://schemas.microsoft.com/office/drawing/2014/main" id="{BE01A452-4F14-63D7-599A-CEFB3787F4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0" y="1314928"/>
            <a:ext cx="8229600" cy="4933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72020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Table 1. Provider use of HCT EMR tool by patient characteristics for established DM visits Jan - Dec 2024 ​</a:t>
            </a:r>
          </a:p>
        </p:txBody>
      </p:sp>
      <p:sp>
        <p:nvSpPr>
          <p:cNvPr id="4" name="Slide Number Placeholder 3"/>
          <p:cNvSpPr>
            <a:spLocks noGrp="1"/>
          </p:cNvSpPr>
          <p:nvPr>
            <p:ph type="sldNum" sz="quarter" idx="4294967295"/>
          </p:nvPr>
        </p:nvSpPr>
        <p:spPr>
          <a:xfrm>
            <a:off x="9906000" y="6383338"/>
            <a:ext cx="762000" cy="246062"/>
          </a:xfrm>
        </p:spPr>
        <p:txBody>
          <a:bodyPr/>
          <a:lstStyle/>
          <a:p>
            <a:fld id="{B6761BED-127F-4714-AE70-548270172845}" type="slidenum">
              <a:rPr lang="en-US" smtClean="0">
                <a:solidFill>
                  <a:schemeClr val="bg1">
                    <a:lumMod val="65000"/>
                  </a:schemeClr>
                </a:solidFill>
              </a:rPr>
              <a:pPr/>
              <a:t>9</a:t>
            </a:fld>
            <a:endParaRPr lang="en-US" dirty="0">
              <a:solidFill>
                <a:schemeClr val="bg1">
                  <a:lumMod val="65000"/>
                </a:schemeClr>
              </a:solidFill>
            </a:endParaRPr>
          </a:p>
        </p:txBody>
      </p:sp>
      <p:sp>
        <p:nvSpPr>
          <p:cNvPr id="6" name="Rectangle 5"/>
          <p:cNvSpPr/>
          <p:nvPr/>
        </p:nvSpPr>
        <p:spPr>
          <a:xfrm>
            <a:off x="5791200" y="6248400"/>
            <a:ext cx="3810000" cy="60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1">
            <a:extLst>
              <a:ext uri="{FF2B5EF4-FFF2-40B4-BE49-F238E27FC236}">
                <a16:creationId xmlns:a16="http://schemas.microsoft.com/office/drawing/2014/main" id="{1362ACFC-7EF2-A295-18B0-409277C56CBB}"/>
              </a:ext>
            </a:extLst>
          </p:cNvPr>
          <p:cNvSpPr>
            <a:spLocks noChangeArrowheads="1"/>
          </p:cNvSpPr>
          <p:nvPr/>
        </p:nvSpPr>
        <p:spPr bwMode="auto">
          <a:xfrm>
            <a:off x="4570413" y="-3264803"/>
            <a:ext cx="91440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13" name="Table 12">
            <a:extLst>
              <a:ext uri="{FF2B5EF4-FFF2-40B4-BE49-F238E27FC236}">
                <a16:creationId xmlns:a16="http://schemas.microsoft.com/office/drawing/2014/main" id="{5DA0E4DB-E52A-06AC-F92B-AF2F91A4F25A}"/>
              </a:ext>
            </a:extLst>
          </p:cNvPr>
          <p:cNvGraphicFramePr>
            <a:graphicFrameLocks noGrp="1"/>
          </p:cNvGraphicFramePr>
          <p:nvPr/>
        </p:nvGraphicFramePr>
        <p:xfrm>
          <a:off x="1989293" y="960747"/>
          <a:ext cx="8160819" cy="5708286"/>
        </p:xfrm>
        <a:graphic>
          <a:graphicData uri="http://schemas.openxmlformats.org/drawingml/2006/table">
            <a:tbl>
              <a:tblPr/>
              <a:tblGrid>
                <a:gridCol w="2529607">
                  <a:extLst>
                    <a:ext uri="{9D8B030D-6E8A-4147-A177-3AD203B41FA5}">
                      <a16:colId xmlns:a16="http://schemas.microsoft.com/office/drawing/2014/main" val="1768659536"/>
                    </a:ext>
                  </a:extLst>
                </a:gridCol>
                <a:gridCol w="2159782">
                  <a:extLst>
                    <a:ext uri="{9D8B030D-6E8A-4147-A177-3AD203B41FA5}">
                      <a16:colId xmlns:a16="http://schemas.microsoft.com/office/drawing/2014/main" val="1493397491"/>
                    </a:ext>
                  </a:extLst>
                </a:gridCol>
                <a:gridCol w="2465504">
                  <a:extLst>
                    <a:ext uri="{9D8B030D-6E8A-4147-A177-3AD203B41FA5}">
                      <a16:colId xmlns:a16="http://schemas.microsoft.com/office/drawing/2014/main" val="3358146326"/>
                    </a:ext>
                  </a:extLst>
                </a:gridCol>
                <a:gridCol w="1005926">
                  <a:extLst>
                    <a:ext uri="{9D8B030D-6E8A-4147-A177-3AD203B41FA5}">
                      <a16:colId xmlns:a16="http://schemas.microsoft.com/office/drawing/2014/main" val="825774437"/>
                    </a:ext>
                  </a:extLst>
                </a:gridCol>
              </a:tblGrid>
              <a:tr h="227102">
                <a:tc>
                  <a:txBody>
                    <a:bodyPr/>
                    <a:lstStyle/>
                    <a:p>
                      <a:pPr algn="l" rtl="0" fontAlgn="auto">
                        <a:lnSpc>
                          <a:spcPts val="525"/>
                        </a:lnSpc>
                        <a:buNone/>
                      </a:pPr>
                      <a:r>
                        <a:rPr lang="en-US" sz="900" b="1" i="0" dirty="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156082"/>
                      </a:solidFill>
                      <a:prstDash val="solid"/>
                      <a:round/>
                      <a:headEnd type="none" w="med" len="med"/>
                      <a:tailEnd type="none" w="med" len="med"/>
                    </a:lnT>
                    <a:lnB w="9525" cap="flat" cmpd="sng" algn="ctr">
                      <a:solidFill>
                        <a:srgbClr val="156082"/>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1" i="0">
                          <a:solidFill>
                            <a:srgbClr val="000000"/>
                          </a:solidFill>
                          <a:effectLst/>
                          <a:latin typeface="Arial" panose="020B0604020202020204" pitchFamily="34" charset="0"/>
                        </a:rPr>
                        <a:t>Total # of patients​</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156082"/>
                      </a:solidFill>
                      <a:prstDash val="solid"/>
                      <a:round/>
                      <a:headEnd type="none" w="med" len="med"/>
                      <a:tailEnd type="none" w="med" len="med"/>
                    </a:lnT>
                    <a:lnB w="9525" cap="flat" cmpd="sng" algn="ctr">
                      <a:solidFill>
                        <a:srgbClr val="156082"/>
                      </a:solidFill>
                      <a:prstDash val="solid"/>
                      <a:round/>
                      <a:headEnd type="none" w="med" len="med"/>
                      <a:tailEnd type="none" w="med" len="med"/>
                    </a:lnB>
                    <a:solidFill>
                      <a:srgbClr val="FFFFFF"/>
                    </a:solidFill>
                  </a:tcPr>
                </a:tc>
                <a:tc>
                  <a:txBody>
                    <a:bodyPr/>
                    <a:lstStyle/>
                    <a:p>
                      <a:pPr algn="l" rtl="0" fontAlgn="base">
                        <a:lnSpc>
                          <a:spcPts val="525"/>
                        </a:lnSpc>
                        <a:spcBef>
                          <a:spcPts val="600"/>
                        </a:spcBef>
                        <a:buNone/>
                      </a:pPr>
                      <a:r>
                        <a:rPr lang="en-US" sz="900" b="1" i="0" dirty="0">
                          <a:solidFill>
                            <a:srgbClr val="000000"/>
                          </a:solidFill>
                          <a:effectLst/>
                          <a:latin typeface="Arial" panose="020B0604020202020204" pitchFamily="34" charset="0"/>
                        </a:rPr>
                        <a:t>Provider use of HCT tool​</a:t>
                      </a:r>
                    </a:p>
                    <a:p>
                      <a:pPr algn="l" rtl="0" fontAlgn="base">
                        <a:lnSpc>
                          <a:spcPts val="525"/>
                        </a:lnSpc>
                        <a:spcBef>
                          <a:spcPts val="600"/>
                        </a:spcBef>
                        <a:buNone/>
                      </a:pPr>
                      <a:r>
                        <a:rPr lang="en-US" sz="900" b="1" i="0" dirty="0">
                          <a:solidFill>
                            <a:srgbClr val="000000"/>
                          </a:solidFill>
                          <a:effectLst/>
                          <a:latin typeface="Arial" panose="020B0604020202020204" pitchFamily="34" charset="0"/>
                        </a:rPr>
                        <a:t>n (%)​</a:t>
                      </a:r>
                      <a:endParaRPr lang="en-US" sz="900" b="1" i="0" dirty="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156082"/>
                      </a:solidFill>
                      <a:prstDash val="solid"/>
                      <a:round/>
                      <a:headEnd type="none" w="med" len="med"/>
                      <a:tailEnd type="none" w="med" len="med"/>
                    </a:lnT>
                    <a:lnB w="9525" cap="flat" cmpd="sng" algn="ctr">
                      <a:solidFill>
                        <a:srgbClr val="156082"/>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1" i="0" dirty="0">
                          <a:solidFill>
                            <a:srgbClr val="000000"/>
                          </a:solidFill>
                          <a:effectLst/>
                          <a:latin typeface="Arial" panose="020B0604020202020204" pitchFamily="34" charset="0"/>
                        </a:rPr>
                        <a:t>p-value​</a:t>
                      </a:r>
                      <a:endParaRPr lang="en-US" sz="900" b="1" i="0" dirty="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156082"/>
                      </a:solidFill>
                      <a:prstDash val="solid"/>
                      <a:round/>
                      <a:headEnd type="none" w="med" len="med"/>
                      <a:tailEnd type="none" w="med" len="med"/>
                    </a:lnT>
                    <a:lnB w="9525" cap="flat" cmpd="sng" algn="ctr">
                      <a:solidFill>
                        <a:srgbClr val="156082"/>
                      </a:solidFill>
                      <a:prstDash val="solid"/>
                      <a:round/>
                      <a:headEnd type="none" w="med" len="med"/>
                      <a:tailEnd type="none" w="med" len="med"/>
                    </a:lnB>
                    <a:solidFill>
                      <a:srgbClr val="FFFFFF"/>
                    </a:solidFill>
                  </a:tcPr>
                </a:tc>
                <a:extLst>
                  <a:ext uri="{0D108BD9-81ED-4DB2-BD59-A6C34878D82A}">
                    <a16:rowId xmlns:a16="http://schemas.microsoft.com/office/drawing/2014/main" val="2146038989"/>
                  </a:ext>
                </a:extLst>
              </a:tr>
              <a:tr h="0">
                <a:tc>
                  <a:txBody>
                    <a:bodyPr/>
                    <a:lstStyle/>
                    <a:p>
                      <a:pPr algn="l" rtl="0" fontAlgn="base">
                        <a:lnSpc>
                          <a:spcPts val="525"/>
                        </a:lnSpc>
                        <a:buNone/>
                      </a:pPr>
                      <a:r>
                        <a:rPr lang="en-US" sz="900" b="1" i="0" dirty="0">
                          <a:solidFill>
                            <a:srgbClr val="000000"/>
                          </a:solidFill>
                          <a:effectLst/>
                          <a:latin typeface="Arial" panose="020B0604020202020204" pitchFamily="34" charset="0"/>
                        </a:rPr>
                        <a:t>Age (years)​</a:t>
                      </a:r>
                      <a:endParaRPr lang="en-US" sz="900" b="1" i="0" dirty="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156082"/>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1102​</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156082"/>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156082"/>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1" i="0">
                          <a:solidFill>
                            <a:srgbClr val="000000"/>
                          </a:solidFill>
                          <a:effectLst/>
                          <a:latin typeface="Arial" panose="020B0604020202020204" pitchFamily="34" charset="0"/>
                        </a:rPr>
                        <a:t>&lt;0.001</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156082"/>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extLst>
                  <a:ext uri="{0D108BD9-81ED-4DB2-BD59-A6C34878D82A}">
                    <a16:rowId xmlns:a16="http://schemas.microsoft.com/office/drawing/2014/main" val="3655339443"/>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17</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410</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48 (11.7%)</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813586040"/>
                  </a:ext>
                </a:extLst>
              </a:tr>
              <a:tr h="0">
                <a:tc>
                  <a:txBody>
                    <a:bodyPr/>
                    <a:lstStyle/>
                    <a:p>
                      <a:pPr algn="l" rtl="0" fontAlgn="base">
                        <a:lnSpc>
                          <a:spcPts val="525"/>
                        </a:lnSpc>
                        <a:buNone/>
                      </a:pPr>
                      <a:r>
                        <a:rPr lang="en-US" sz="900" b="0" i="0" dirty="0">
                          <a:solidFill>
                            <a:srgbClr val="000000"/>
                          </a:solidFill>
                          <a:effectLst/>
                          <a:latin typeface="Arial" panose="020B0604020202020204" pitchFamily="34" charset="0"/>
                        </a:rPr>
                        <a:t>18</a:t>
                      </a:r>
                      <a:r>
                        <a:rPr lang="en-US" sz="900" b="1" i="0" dirty="0">
                          <a:solidFill>
                            <a:srgbClr val="000000"/>
                          </a:solidFill>
                          <a:effectLst/>
                          <a:latin typeface="Arial" panose="020B0604020202020204" pitchFamily="34" charset="0"/>
                        </a:rPr>
                        <a:t>​</a:t>
                      </a:r>
                      <a:endParaRPr lang="en-US" sz="900" b="1" i="0" dirty="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376</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60 (16.0%)</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4066505386"/>
                  </a:ext>
                </a:extLst>
              </a:tr>
              <a:tr h="0">
                <a:tc>
                  <a:txBody>
                    <a:bodyPr/>
                    <a:lstStyle/>
                    <a:p>
                      <a:pPr algn="l" rtl="0" fontAlgn="base">
                        <a:lnSpc>
                          <a:spcPts val="525"/>
                        </a:lnSpc>
                        <a:buNone/>
                      </a:pPr>
                      <a:r>
                        <a:rPr lang="en-US" sz="900" b="0" i="0" dirty="0">
                          <a:solidFill>
                            <a:srgbClr val="000000"/>
                          </a:solidFill>
                          <a:effectLst/>
                          <a:latin typeface="Arial" panose="020B0604020202020204" pitchFamily="34" charset="0"/>
                        </a:rPr>
                        <a:t>19</a:t>
                      </a:r>
                      <a:r>
                        <a:rPr lang="en-US" sz="900" b="1" i="0" dirty="0">
                          <a:solidFill>
                            <a:srgbClr val="000000"/>
                          </a:solidFill>
                          <a:effectLst/>
                          <a:latin typeface="Arial" panose="020B0604020202020204" pitchFamily="34" charset="0"/>
                        </a:rPr>
                        <a:t>​</a:t>
                      </a:r>
                      <a:endParaRPr lang="en-US" sz="900" b="1" i="0" dirty="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183</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27 (14.8%)</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096093526"/>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20</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133</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37 (27.8%)</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103263506"/>
                  </a:ext>
                </a:extLst>
              </a:tr>
              <a:tr h="0">
                <a:tc>
                  <a:txBody>
                    <a:bodyPr/>
                    <a:lstStyle/>
                    <a:p>
                      <a:pPr algn="l" rtl="0" fontAlgn="base">
                        <a:lnSpc>
                          <a:spcPts val="525"/>
                        </a:lnSpc>
                        <a:buNone/>
                      </a:pPr>
                      <a:r>
                        <a:rPr lang="en-US" sz="900" b="1" i="0">
                          <a:solidFill>
                            <a:srgbClr val="000000"/>
                          </a:solidFill>
                          <a:effectLst/>
                          <a:latin typeface="Arial" panose="020B0604020202020204" pitchFamily="34" charset="0"/>
                        </a:rPr>
                        <a:t>College Plan ​</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dirty="0">
                          <a:solidFill>
                            <a:srgbClr val="000000"/>
                          </a:solidFill>
                          <a:effectLst/>
                          <a:latin typeface="Arial" panose="020B0604020202020204" pitchFamily="34" charset="0"/>
                        </a:rPr>
                        <a:t>183​</a:t>
                      </a:r>
                      <a:endParaRPr lang="en-US" sz="900" b="0" i="0" dirty="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NS​</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extLst>
                  <a:ext uri="{0D108BD9-81ED-4DB2-BD59-A6C34878D82A}">
                    <a16:rowId xmlns:a16="http://schemas.microsoft.com/office/drawing/2014/main" val="1048511473"/>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Yes</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60​</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12 (20.0%)​</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4220242433"/>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No</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123​</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20 (16.3%)​</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562336268"/>
                  </a:ext>
                </a:extLst>
              </a:tr>
              <a:tr h="0">
                <a:tc>
                  <a:txBody>
                    <a:bodyPr/>
                    <a:lstStyle/>
                    <a:p>
                      <a:pPr algn="l" rtl="0" fontAlgn="base">
                        <a:lnSpc>
                          <a:spcPts val="525"/>
                        </a:lnSpc>
                        <a:buNone/>
                      </a:pPr>
                      <a:r>
                        <a:rPr lang="en-US" sz="900" b="1" i="0">
                          <a:solidFill>
                            <a:srgbClr val="000000"/>
                          </a:solidFill>
                          <a:effectLst/>
                          <a:latin typeface="Arial" panose="020B0604020202020204" pitchFamily="34" charset="0"/>
                        </a:rPr>
                        <a:t>Race​</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1102​</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NS​</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extLst>
                  <a:ext uri="{0D108BD9-81ED-4DB2-BD59-A6C34878D82A}">
                    <a16:rowId xmlns:a16="http://schemas.microsoft.com/office/drawing/2014/main" val="3554259884"/>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White</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457</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83 (18.2%)</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93403994"/>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Black</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490</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70 (14.3%)</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813719002"/>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Asian</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29</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4 (13.8%)</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661520450"/>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Declined</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49</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5 (10.2%)</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024160015"/>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Other</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77</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10 (13.0%)</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003540895"/>
                  </a:ext>
                </a:extLst>
              </a:tr>
              <a:tr h="0">
                <a:tc>
                  <a:txBody>
                    <a:bodyPr/>
                    <a:lstStyle/>
                    <a:p>
                      <a:pPr algn="l" rtl="0" fontAlgn="base">
                        <a:lnSpc>
                          <a:spcPts val="525"/>
                        </a:lnSpc>
                        <a:buNone/>
                      </a:pPr>
                      <a:r>
                        <a:rPr lang="en-US" sz="900" b="1" i="0">
                          <a:solidFill>
                            <a:srgbClr val="000000"/>
                          </a:solidFill>
                          <a:effectLst/>
                          <a:latin typeface="Arial" panose="020B0604020202020204" pitchFamily="34" charset="0"/>
                        </a:rPr>
                        <a:t>Preferred spoken language​</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1102 ​</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0.14​</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extLst>
                  <a:ext uri="{0D108BD9-81ED-4DB2-BD59-A6C34878D82A}">
                    <a16:rowId xmlns:a16="http://schemas.microsoft.com/office/drawing/2014/main" val="3561037393"/>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English</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983​</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159 (16.2%)</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920317611"/>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Non-English</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119​</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13 (10.9%)</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4054275677"/>
                  </a:ext>
                </a:extLst>
              </a:tr>
              <a:tr h="0">
                <a:tc>
                  <a:txBody>
                    <a:bodyPr/>
                    <a:lstStyle/>
                    <a:p>
                      <a:pPr algn="l" rtl="0" fontAlgn="base">
                        <a:lnSpc>
                          <a:spcPts val="525"/>
                        </a:lnSpc>
                        <a:buNone/>
                      </a:pPr>
                      <a:r>
                        <a:rPr lang="en-US" sz="900" b="1" i="0">
                          <a:solidFill>
                            <a:srgbClr val="000000"/>
                          </a:solidFill>
                          <a:effectLst/>
                          <a:latin typeface="Arial" panose="020B0604020202020204" pitchFamily="34" charset="0"/>
                        </a:rPr>
                        <a:t>Insurance​</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dirty="0">
                          <a:solidFill>
                            <a:srgbClr val="000000"/>
                          </a:solidFill>
                          <a:effectLst/>
                          <a:latin typeface="Arial" panose="020B0604020202020204" pitchFamily="34" charset="0"/>
                        </a:rPr>
                        <a:t>1102​</a:t>
                      </a:r>
                      <a:endParaRPr lang="en-US" sz="900" b="0" i="0" dirty="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NS​</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extLst>
                  <a:ext uri="{0D108BD9-81ED-4DB2-BD59-A6C34878D82A}">
                    <a16:rowId xmlns:a16="http://schemas.microsoft.com/office/drawing/2014/main" val="1090686083"/>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Private</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484</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85 (17.6%)</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963824396"/>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Public</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558</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80 (14.3%)</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399130393"/>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None</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60</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7 (11.7%)</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756493346"/>
                  </a:ext>
                </a:extLst>
              </a:tr>
              <a:tr h="0">
                <a:tc>
                  <a:txBody>
                    <a:bodyPr/>
                    <a:lstStyle/>
                    <a:p>
                      <a:pPr algn="l" rtl="0" fontAlgn="base">
                        <a:lnSpc>
                          <a:spcPts val="525"/>
                        </a:lnSpc>
                        <a:buNone/>
                      </a:pPr>
                      <a:r>
                        <a:rPr lang="en-US" sz="900" b="1" i="0">
                          <a:solidFill>
                            <a:srgbClr val="000000"/>
                          </a:solidFill>
                          <a:effectLst/>
                          <a:latin typeface="Arial" panose="020B0604020202020204" pitchFamily="34" charset="0"/>
                        </a:rPr>
                        <a:t>DM Type​</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1102​</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auto">
                        <a:lnSpc>
                          <a:spcPts val="525"/>
                        </a:lnSpc>
                        <a:buNone/>
                      </a:pPr>
                      <a:endParaRPr lang="en-US" sz="900" b="0" i="0" dirty="0">
                        <a:solidFill>
                          <a:srgbClr val="000000"/>
                        </a:solidFill>
                        <a:effectLst/>
                        <a:latin typeface="Arial" panose="020B0604020202020204" pitchFamily="34" charset="0"/>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dirty="0">
                          <a:solidFill>
                            <a:srgbClr val="000000"/>
                          </a:solidFill>
                          <a:effectLst/>
                          <a:latin typeface="Arial" panose="020B0604020202020204" pitchFamily="34" charset="0"/>
                        </a:rPr>
                        <a:t>0.06​</a:t>
                      </a:r>
                      <a:endParaRPr lang="en-US" sz="900" b="0" i="0" dirty="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extLst>
                  <a:ext uri="{0D108BD9-81ED-4DB2-BD59-A6C34878D82A}">
                    <a16:rowId xmlns:a16="http://schemas.microsoft.com/office/drawing/2014/main" val="1739889378"/>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Type 1</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742</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128 (17.3%)</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774324634"/>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Type 2</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341</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43 (12.6%)</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479214810"/>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Other*</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19</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1 (5.3%)</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886389238"/>
                  </a:ext>
                </a:extLst>
              </a:tr>
              <a:tr h="0">
                <a:tc>
                  <a:txBody>
                    <a:bodyPr/>
                    <a:lstStyle/>
                    <a:p>
                      <a:pPr algn="l" rtl="0" fontAlgn="base">
                        <a:lnSpc>
                          <a:spcPts val="525"/>
                        </a:lnSpc>
                        <a:buNone/>
                      </a:pPr>
                      <a:r>
                        <a:rPr lang="en-US" sz="900" b="1" i="0">
                          <a:solidFill>
                            <a:srgbClr val="000000"/>
                          </a:solidFill>
                          <a:effectLst/>
                          <a:latin typeface="Arial" panose="020B0604020202020204" pitchFamily="34" charset="0"/>
                        </a:rPr>
                        <a:t>HbA1c​</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1101 ​</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NS​</a:t>
                      </a:r>
                      <a:endParaRPr lang="en-US" sz="900" b="0"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extLst>
                  <a:ext uri="{0D108BD9-81ED-4DB2-BD59-A6C34878D82A}">
                    <a16:rowId xmlns:a16="http://schemas.microsoft.com/office/drawing/2014/main" val="536729682"/>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lt;7%</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310</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48 (15.5%)</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55669864"/>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7-9%</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377</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61 (16.2%)</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270946255"/>
                  </a:ext>
                </a:extLst>
              </a:tr>
              <a:tr h="0">
                <a:tc>
                  <a:txBody>
                    <a:bodyPr/>
                    <a:lstStyle/>
                    <a:p>
                      <a:pPr algn="l" rtl="0" fontAlgn="base">
                        <a:lnSpc>
                          <a:spcPts val="525"/>
                        </a:lnSpc>
                        <a:buNone/>
                      </a:pPr>
                      <a:r>
                        <a:rPr lang="en-US" sz="900" b="0" i="0" dirty="0">
                          <a:solidFill>
                            <a:srgbClr val="000000"/>
                          </a:solidFill>
                          <a:effectLst/>
                          <a:latin typeface="Arial" panose="020B0604020202020204" pitchFamily="34" charset="0"/>
                        </a:rPr>
                        <a:t>&gt;9%</a:t>
                      </a:r>
                      <a:r>
                        <a:rPr lang="en-US" sz="900" b="1" i="0" dirty="0">
                          <a:solidFill>
                            <a:srgbClr val="000000"/>
                          </a:solidFill>
                          <a:effectLst/>
                          <a:latin typeface="Arial" panose="020B0604020202020204" pitchFamily="34" charset="0"/>
                        </a:rPr>
                        <a:t>​</a:t>
                      </a:r>
                      <a:endParaRPr lang="en-US" sz="900" b="1" i="0" dirty="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414</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63 (15.2%)</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241043170"/>
                  </a:ext>
                </a:extLst>
              </a:tr>
              <a:tr h="0">
                <a:tc>
                  <a:txBody>
                    <a:bodyPr/>
                    <a:lstStyle/>
                    <a:p>
                      <a:pPr algn="l" rtl="0" fontAlgn="base">
                        <a:lnSpc>
                          <a:spcPts val="525"/>
                        </a:lnSpc>
                        <a:buNone/>
                      </a:pPr>
                      <a:r>
                        <a:rPr lang="en-US" sz="900" b="1" i="0">
                          <a:solidFill>
                            <a:srgbClr val="000000"/>
                          </a:solidFill>
                          <a:effectLst/>
                          <a:latin typeface="Arial" panose="020B0604020202020204" pitchFamily="34" charset="0"/>
                        </a:rPr>
                        <a:t>Number of clinic encounters​</a:t>
                      </a:r>
                      <a:endParaRPr lang="en-US" sz="900" b="1" i="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0" i="0">
                          <a:solidFill>
                            <a:srgbClr val="000000"/>
                          </a:solidFill>
                          <a:effectLst/>
                          <a:latin typeface="Arial" panose="020B0604020202020204" pitchFamily="34" charset="0"/>
                        </a:rPr>
                        <a:t>1102​</a:t>
                      </a:r>
                      <a:endParaRPr lang="en-US" sz="900" b="0" i="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tc>
                  <a:txBody>
                    <a:bodyPr/>
                    <a:lstStyle/>
                    <a:p>
                      <a:pPr algn="l" rtl="0" fontAlgn="base">
                        <a:lnSpc>
                          <a:spcPts val="525"/>
                        </a:lnSpc>
                        <a:buNone/>
                      </a:pPr>
                      <a:r>
                        <a:rPr lang="en-US" sz="900" b="1" i="0" dirty="0">
                          <a:solidFill>
                            <a:srgbClr val="000000"/>
                          </a:solidFill>
                          <a:effectLst/>
                          <a:latin typeface="Arial" panose="020B0604020202020204" pitchFamily="34" charset="0"/>
                        </a:rPr>
                        <a:t>&lt;0.001</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F2D0"/>
                    </a:solidFill>
                  </a:tcPr>
                </a:tc>
                <a:extLst>
                  <a:ext uri="{0D108BD9-81ED-4DB2-BD59-A6C34878D82A}">
                    <a16:rowId xmlns:a16="http://schemas.microsoft.com/office/drawing/2014/main" val="3731091004"/>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1</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434</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53 (12.2%)</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730277317"/>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2</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a:solidFill>
                            <a:srgbClr val="000000"/>
                          </a:solidFill>
                          <a:effectLst/>
                          <a:latin typeface="Arial" panose="020B0604020202020204" pitchFamily="34" charset="0"/>
                        </a:rPr>
                        <a:t>344</a:t>
                      </a:r>
                      <a:r>
                        <a:rPr lang="en-US" sz="900" b="0" i="0">
                          <a:solidFill>
                            <a:srgbClr val="000000"/>
                          </a:solidFill>
                          <a:effectLst/>
                          <a:latin typeface="Arial" panose="020B0604020202020204" pitchFamily="34" charset="0"/>
                        </a:rPr>
                        <a:t>​</a:t>
                      </a:r>
                      <a:endParaRPr lang="en-US" sz="900" b="0" i="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42 (12.2%)</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646719384"/>
                  </a:ext>
                </a:extLst>
              </a:tr>
              <a:tr h="0">
                <a:tc>
                  <a:txBody>
                    <a:bodyPr/>
                    <a:lstStyle/>
                    <a:p>
                      <a:pPr algn="l" rtl="0" fontAlgn="base">
                        <a:lnSpc>
                          <a:spcPts val="525"/>
                        </a:lnSpc>
                        <a:buNone/>
                      </a:pPr>
                      <a:r>
                        <a:rPr lang="en-US" sz="900" b="0" i="0">
                          <a:solidFill>
                            <a:srgbClr val="000000"/>
                          </a:solidFill>
                          <a:effectLst/>
                          <a:latin typeface="Arial" panose="020B0604020202020204" pitchFamily="34" charset="0"/>
                        </a:rPr>
                        <a:t>3+</a:t>
                      </a:r>
                      <a:r>
                        <a:rPr lang="en-US" sz="900" b="1" i="0">
                          <a:solidFill>
                            <a:srgbClr val="000000"/>
                          </a:solidFill>
                          <a:effectLst/>
                          <a:latin typeface="Arial" panose="020B0604020202020204" pitchFamily="34" charset="0"/>
                        </a:rPr>
                        <a:t>​</a:t>
                      </a:r>
                      <a:endParaRPr lang="en-US" sz="900" b="1" i="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324</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base">
                        <a:lnSpc>
                          <a:spcPts val="525"/>
                        </a:lnSpc>
                        <a:buNone/>
                      </a:pPr>
                      <a:r>
                        <a:rPr lang="en-US" sz="900" b="0" i="0" u="none" strike="noStrike" dirty="0">
                          <a:solidFill>
                            <a:srgbClr val="000000"/>
                          </a:solidFill>
                          <a:effectLst/>
                          <a:latin typeface="Arial" panose="020B0604020202020204" pitchFamily="34" charset="0"/>
                        </a:rPr>
                        <a:t>77 (23.8%)</a:t>
                      </a:r>
                      <a:r>
                        <a:rPr lang="en-US" sz="900" b="0" i="0" dirty="0">
                          <a:solidFill>
                            <a:srgbClr val="000000"/>
                          </a:solidFill>
                          <a:effectLst/>
                          <a:latin typeface="Arial" panose="020B0604020202020204" pitchFamily="34" charset="0"/>
                        </a:rPr>
                        <a:t>​</a:t>
                      </a:r>
                      <a:endParaRPr lang="en-US" sz="900" b="0" i="0" dirty="0">
                        <a:solidFill>
                          <a:srgbClr val="000000"/>
                        </a:solidFill>
                        <a:effectLst/>
                      </a:endParaRP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auto">
                        <a:lnSpc>
                          <a:spcPts val="525"/>
                        </a:lnSpc>
                        <a:buNone/>
                      </a:pPr>
                      <a:r>
                        <a:rPr lang="en-US" sz="900" b="0" i="0" dirty="0">
                          <a:solidFill>
                            <a:srgbClr val="000000"/>
                          </a:solidFill>
                          <a:effectLst/>
                          <a:latin typeface="Arial" panose="020B0604020202020204" pitchFamily="34" charset="0"/>
                        </a:rPr>
                        <a:t>​</a:t>
                      </a:r>
                    </a:p>
                  </a:txBody>
                  <a:tcPr marL="22696" marR="22696" marT="64008" marB="1828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947744749"/>
                  </a:ext>
                </a:extLst>
              </a:tr>
              <a:tr h="0">
                <a:tc gridSpan="4">
                  <a:txBody>
                    <a:bodyPr/>
                    <a:lstStyle/>
                    <a:p>
                      <a:pPr algn="l" rtl="0" fontAlgn="base">
                        <a:lnSpc>
                          <a:spcPts val="450"/>
                        </a:lnSpc>
                        <a:buNone/>
                      </a:pPr>
                      <a:r>
                        <a:rPr lang="en-US" sz="800" b="0" i="0" dirty="0">
                          <a:solidFill>
                            <a:srgbClr val="000000"/>
                          </a:solidFill>
                          <a:effectLst/>
                          <a:latin typeface="Arial" panose="020B0604020202020204" pitchFamily="34" charset="0"/>
                        </a:rPr>
                        <a:t>*Other DM Types: Monogenic DM, Drug/chemical induced DM, cystic fibrosis related DM, status post pancreatic resection</a:t>
                      </a:r>
                      <a:r>
                        <a:rPr lang="en-US" sz="800" b="1" i="0" dirty="0">
                          <a:solidFill>
                            <a:srgbClr val="000000"/>
                          </a:solidFill>
                          <a:effectLst/>
                          <a:latin typeface="Arial" panose="020B0604020202020204" pitchFamily="34" charset="0"/>
                        </a:rPr>
                        <a:t>​</a:t>
                      </a:r>
                      <a:endParaRPr lang="en-US" sz="900" b="1" i="0" dirty="0">
                        <a:solidFill>
                          <a:srgbClr val="000000"/>
                        </a:solidFill>
                        <a:effectLst/>
                      </a:endParaRPr>
                    </a:p>
                  </a:txBody>
                  <a:tcPr marL="22696" marR="22696" marT="64008"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156082"/>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64928825"/>
                  </a:ext>
                </a:extLst>
              </a:tr>
            </a:tbl>
          </a:graphicData>
        </a:graphic>
      </p:graphicFrame>
      <p:sp>
        <p:nvSpPr>
          <p:cNvPr id="5" name="Rectangle: Rounded Corners 4">
            <a:extLst>
              <a:ext uri="{FF2B5EF4-FFF2-40B4-BE49-F238E27FC236}">
                <a16:creationId xmlns:a16="http://schemas.microsoft.com/office/drawing/2014/main" id="{45B1C780-DA03-B675-72EA-9D197CD3732D}"/>
              </a:ext>
            </a:extLst>
          </p:cNvPr>
          <p:cNvSpPr/>
          <p:nvPr/>
        </p:nvSpPr>
        <p:spPr>
          <a:xfrm>
            <a:off x="6622474" y="6330879"/>
            <a:ext cx="674255" cy="189995"/>
          </a:xfrm>
          <a:prstGeom prst="roundRect">
            <a:avLst/>
          </a:prstGeom>
          <a:noFill/>
          <a:ln>
            <a:solidFill>
              <a:srgbClr val="00A94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Rounded Corners 7">
            <a:extLst>
              <a:ext uri="{FF2B5EF4-FFF2-40B4-BE49-F238E27FC236}">
                <a16:creationId xmlns:a16="http://schemas.microsoft.com/office/drawing/2014/main" id="{1B30BD1B-3557-32DA-F03B-18A622CDEA98}"/>
              </a:ext>
            </a:extLst>
          </p:cNvPr>
          <p:cNvSpPr/>
          <p:nvPr/>
        </p:nvSpPr>
        <p:spPr>
          <a:xfrm>
            <a:off x="6640946" y="1863303"/>
            <a:ext cx="674255" cy="189995"/>
          </a:xfrm>
          <a:prstGeom prst="roundRect">
            <a:avLst/>
          </a:prstGeom>
          <a:noFill/>
          <a:ln>
            <a:solidFill>
              <a:srgbClr val="00A94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236678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1D Exchange Annual Meeting Template 2015">
  <a:themeElements>
    <a:clrScheme name="T1D Exchange">
      <a:dk1>
        <a:srgbClr val="000000"/>
      </a:dk1>
      <a:lt1>
        <a:srgbClr val="FFFFFF"/>
      </a:lt1>
      <a:dk2>
        <a:srgbClr val="3B3B3B"/>
      </a:dk2>
      <a:lt2>
        <a:srgbClr val="FFFFFF"/>
      </a:lt2>
      <a:accent1>
        <a:srgbClr val="B1DFE0"/>
      </a:accent1>
      <a:accent2>
        <a:srgbClr val="7FD0D9"/>
      </a:accent2>
      <a:accent3>
        <a:srgbClr val="18A1AB"/>
      </a:accent3>
      <a:accent4>
        <a:srgbClr val="47606D"/>
      </a:accent4>
      <a:accent5>
        <a:srgbClr val="FEE0CE"/>
      </a:accent5>
      <a:accent6>
        <a:srgbClr val="AFCFFF"/>
      </a:accent6>
      <a:hlink>
        <a:srgbClr val="056BD1"/>
      </a:hlink>
      <a:folHlink>
        <a:srgbClr val="056BD1"/>
      </a:folHlink>
    </a:clrScheme>
    <a:fontScheme name="T1D Exchange">
      <a:majorFont>
        <a:latin typeface="Hind"/>
        <a:ea typeface="Helvetica"/>
        <a:cs typeface="Helvetica"/>
      </a:majorFont>
      <a:minorFont>
        <a:latin typeface="Hind"/>
        <a:ea typeface="Calibri"/>
        <a:cs typeface="Calibri"/>
      </a:minorFont>
    </a:fontScheme>
    <a:fmtScheme name="1_T1D Exchange Annual Meeting Template 2015">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47616E"/>
            </a:solidFill>
            <a:effectLst/>
            <a:uFillTx/>
            <a:latin typeface="Hind Regular"/>
            <a:ea typeface="Hind Regular"/>
            <a:cs typeface="Hind Regular"/>
            <a:sym typeface="Hind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696F70"/>
            </a:solidFill>
            <a:effectLst/>
            <a:uFillTx/>
            <a:latin typeface="Hind Bold"/>
            <a:ea typeface="Hind Bold"/>
            <a:cs typeface="Hind Bold"/>
            <a:sym typeface="Hind 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V10 Board Strategy Deck -7-2-19 for HCT.pptx" id="{5A3BD3B1-7070-4C8A-BA64-3133C20ECFD6}" vid="{F9FCAB9D-214E-44ED-B3AF-DB97B0F3FD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Retrospect">
  <a:themeElements>
    <a:clrScheme name="Custom 6">
      <a:dk1>
        <a:sysClr val="windowText" lastClr="000000"/>
      </a:dk1>
      <a:lt1>
        <a:sysClr val="window" lastClr="FFFFFF"/>
      </a:lt1>
      <a:dk2>
        <a:srgbClr val="323232"/>
      </a:dk2>
      <a:lt2>
        <a:srgbClr val="E5C243"/>
      </a:lt2>
      <a:accent1>
        <a:srgbClr val="CFB87C"/>
      </a:accent1>
      <a:accent2>
        <a:srgbClr val="595955"/>
      </a:accent2>
      <a:accent3>
        <a:srgbClr val="E19825"/>
      </a:accent3>
      <a:accent4>
        <a:srgbClr val="B19C7D"/>
      </a:accent4>
      <a:accent5>
        <a:srgbClr val="7F5F52"/>
      </a:accent5>
      <a:accent6>
        <a:srgbClr val="B27D49"/>
      </a:accent6>
      <a:hlink>
        <a:srgbClr val="6B9F25"/>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Frohnert_Diagnosing T1D_in 2020(B)" id="{CD4DD072-6C30-46B9-BD76-7C5F663DF930}" vid="{7C1A1AE8-EC2C-47B0-BF6C-D93B85DA66ED}"/>
    </a:ext>
  </a:extLst>
</a:theme>
</file>

<file path=ppt/theme/theme4.xml><?xml version="1.0" encoding="utf-8"?>
<a:theme xmlns:a="http://schemas.openxmlformats.org/drawingml/2006/main" name="BND_21050_EMORY+CHOA_PPT_template_standard">
  <a:themeElements>
    <a:clrScheme name="CHOA">
      <a:dk1>
        <a:sysClr val="windowText" lastClr="000000"/>
      </a:dk1>
      <a:lt1>
        <a:sysClr val="window" lastClr="FFFFFF"/>
      </a:lt1>
      <a:dk2>
        <a:srgbClr val="000000"/>
      </a:dk2>
      <a:lt2>
        <a:srgbClr val="FFFFFF"/>
      </a:lt2>
      <a:accent1>
        <a:srgbClr val="72BF44"/>
      </a:accent1>
      <a:accent2>
        <a:srgbClr val="BD2F92"/>
      </a:accent2>
      <a:accent3>
        <a:srgbClr val="4BBBEB"/>
      </a:accent3>
      <a:accent4>
        <a:srgbClr val="F58220"/>
      </a:accent4>
      <a:accent5>
        <a:srgbClr val="005DA4"/>
      </a:accent5>
      <a:accent6>
        <a:srgbClr val="FFDD00"/>
      </a:accent6>
      <a:hlink>
        <a:srgbClr val="00A94F"/>
      </a:hlink>
      <a:folHlink>
        <a:srgbClr val="4BBBE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84B7EC0BF2544418F02C0F48049A820" ma:contentTypeVersion="20" ma:contentTypeDescription="Create a new document." ma:contentTypeScope="" ma:versionID="18810cc4c55cb84b30f10de76771b1be">
  <xsd:schema xmlns:xsd="http://www.w3.org/2001/XMLSchema" xmlns:xs="http://www.w3.org/2001/XMLSchema" xmlns:p="http://schemas.microsoft.com/office/2006/metadata/properties" xmlns:ns2="626cb74e-9669-4fd8-87b3-351e3976c142" xmlns:ns3="2f7b054f-be38-41d2-978f-3d651b980644" targetNamespace="http://schemas.microsoft.com/office/2006/metadata/properties" ma:root="true" ma:fieldsID="54ec4579b3dec1060686673f2321ce88" ns2:_="" ns3:_="">
    <xsd:import namespace="626cb74e-9669-4fd8-87b3-351e3976c142"/>
    <xsd:import namespace="2f7b054f-be38-41d2-978f-3d651b98064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6cb74e-9669-4fd8-87b3-351e3976c1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5708ab6-8f93-4a47-82a9-702180f093a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f7b054f-be38-41d2-978f-3d651b98064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04988c3-2911-4884-b1bb-ab625c693b77}" ma:internalName="TaxCatchAll" ma:showField="CatchAllData" ma:web="2f7b054f-be38-41d2-978f-3d651b9806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26cb74e-9669-4fd8-87b3-351e3976c142">
      <Terms xmlns="http://schemas.microsoft.com/office/infopath/2007/PartnerControls"/>
    </lcf76f155ced4ddcb4097134ff3c332f>
    <TaxCatchAll xmlns="2f7b054f-be38-41d2-978f-3d651b980644" xsi:nil="true"/>
  </documentManagement>
</p:properties>
</file>

<file path=customXml/itemProps1.xml><?xml version="1.0" encoding="utf-8"?>
<ds:datastoreItem xmlns:ds="http://schemas.openxmlformats.org/officeDocument/2006/customXml" ds:itemID="{E1DA05A6-A39A-4698-A33B-A1954D476830}">
  <ds:schemaRefs>
    <ds:schemaRef ds:uri="http://schemas.microsoft.com/sharepoint/v3/contenttype/forms"/>
  </ds:schemaRefs>
</ds:datastoreItem>
</file>

<file path=customXml/itemProps2.xml><?xml version="1.0" encoding="utf-8"?>
<ds:datastoreItem xmlns:ds="http://schemas.openxmlformats.org/officeDocument/2006/customXml" ds:itemID="{6710E452-F10D-4B2B-B79C-52118EB3C8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6cb74e-9669-4fd8-87b3-351e3976c142"/>
    <ds:schemaRef ds:uri="2f7b054f-be38-41d2-978f-3d651b9806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8BE6889-8078-41A4-8CD3-6483DA3173FE}">
  <ds:schemaRefs>
    <ds:schemaRef ds:uri="http://schemas.microsoft.com/office/2006/metadata/properties"/>
    <ds:schemaRef ds:uri="http://schemas.microsoft.com/office/infopath/2007/PartnerControls"/>
    <ds:schemaRef ds:uri="626cb74e-9669-4fd8-87b3-351e3976c142"/>
    <ds:schemaRef ds:uri="2f7b054f-be38-41d2-978f-3d651b980644"/>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0</Words>
  <Application>Microsoft Office PowerPoint</Application>
  <PresentationFormat>Widescreen</PresentationFormat>
  <Paragraphs>0</Paragraphs>
  <Slides>48</Slides>
  <Notes>26</Notes>
  <HiddenSlides>0</HiddenSlides>
  <MMClips>0</MMClips>
  <ScaleCrop>false</ScaleCrop>
  <HeadingPairs>
    <vt:vector size="4" baseType="variant">
      <vt:variant>
        <vt:lpstr>Theme</vt:lpstr>
      </vt:variant>
      <vt:variant>
        <vt:i4>4</vt:i4>
      </vt:variant>
      <vt:variant>
        <vt:lpstr>Slide Titles</vt:lpstr>
      </vt:variant>
      <vt:variant>
        <vt:i4>48</vt:i4>
      </vt:variant>
    </vt:vector>
  </HeadingPairs>
  <TitlesOfParts>
    <vt:vector size="52" baseType="lpstr">
      <vt:lpstr>1_T1D Exchange Annual Meeting Template 2015</vt:lpstr>
      <vt:lpstr>office theme</vt:lpstr>
      <vt:lpstr>Retrospect</vt:lpstr>
      <vt:lpstr>BND_21050_EMORY+CHOA_PPT_template_standard</vt:lpstr>
      <vt:lpstr>PowerPoint Presentation</vt:lpstr>
      <vt:lpstr>Implementation of an Electronic Medical Record Pediatric to Adult Healthcare Transition Planning Tool for Youth with Diabetes Mellitus</vt:lpstr>
      <vt:lpstr>Introduction</vt:lpstr>
      <vt:lpstr>Methods</vt:lpstr>
      <vt:lpstr>Fig. 1: EMR-based HCT tool and provider reminders</vt:lpstr>
      <vt:lpstr>Results</vt:lpstr>
      <vt:lpstr>Fig. 2: Run chart of proportion of well-visits with any HCT tool use for patients ≥17y at DM Clinic in 2024</vt:lpstr>
      <vt:lpstr>Fig. 3: Comparisons of HCT tool use by PDSA cycle</vt:lpstr>
      <vt:lpstr>Table 1. Provider use of HCT EMR tool by patient characteristics for established DM visits Jan - Dec 2024 ​</vt:lpstr>
      <vt:lpstr>Discussion</vt:lpstr>
      <vt:lpstr>References</vt:lpstr>
      <vt:lpstr>PowerPoint Presentation</vt:lpstr>
      <vt:lpstr>Next Stop, Adult Care: Implementing A Transition Roadmap for Youth with Diabetes</vt:lpstr>
      <vt:lpstr>Texas Children's Hospital</vt:lpstr>
      <vt:lpstr>Background</vt:lpstr>
      <vt:lpstr>Provider Survey</vt:lpstr>
      <vt:lpstr>PowerPoint Presentation</vt:lpstr>
      <vt:lpstr>PowerPoint Presentation</vt:lpstr>
      <vt:lpstr>PowerPoint Presentation</vt:lpstr>
      <vt:lpstr>PowerPoint Presentation</vt:lpstr>
      <vt:lpstr>Results</vt:lpstr>
      <vt:lpstr>Summary</vt:lpstr>
      <vt:lpstr>Thank you !!</vt:lpstr>
      <vt:lpstr>PowerPoint Presentation</vt:lpstr>
      <vt:lpstr>Development of Transition Curriculum from Patient Identified Topics</vt:lpstr>
      <vt:lpstr>Disclosures</vt:lpstr>
      <vt:lpstr>Background</vt:lpstr>
      <vt:lpstr>Objective</vt:lpstr>
      <vt:lpstr>Methods: Patient-Identified Topics</vt:lpstr>
      <vt:lpstr>Methods: Patient-Identified Topics</vt:lpstr>
      <vt:lpstr>Methods: Transition Topics Discussed</vt:lpstr>
      <vt:lpstr>Results: </vt:lpstr>
      <vt:lpstr>Conclusions</vt:lpstr>
      <vt:lpstr>COMPASS Curriculum</vt:lpstr>
      <vt:lpstr>PowerPoint Presentation</vt:lpstr>
      <vt:lpstr>PowerPoint Presentation</vt:lpstr>
      <vt:lpstr>Background </vt:lpstr>
      <vt:lpstr>Methods</vt:lpstr>
      <vt:lpstr>Methods</vt:lpstr>
      <vt:lpstr>Living with T1D for 5 years </vt:lpstr>
      <vt:lpstr>Living with T1D for 28 years </vt:lpstr>
      <vt:lpstr>Living with T1D for 12 years </vt:lpstr>
      <vt:lpstr>Results </vt:lpstr>
      <vt:lpstr>Key Takeaways</vt:lpstr>
      <vt:lpstr>How You Can Make a Difference</vt:lpstr>
      <vt:lpstr>PowerPoint Presentation</vt:lpstr>
      <vt:lpstr>PowerPoint Presentation</vt:lpstr>
      <vt:lpstr> Section Header Here Subtitle He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40</cp:revision>
  <dcterms:created xsi:type="dcterms:W3CDTF">2025-10-30T20:37:37Z</dcterms:created>
  <dcterms:modified xsi:type="dcterms:W3CDTF">2025-11-11T04:0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4B7EC0BF2544418F02C0F48049A820</vt:lpwstr>
  </property>
  <property fmtid="{D5CDD505-2E9C-101B-9397-08002B2CF9AE}" pid="3" name="MediaServiceImageTags">
    <vt:lpwstr/>
  </property>
</Properties>
</file>